
<file path=[Content_Types].xml><?xml version="1.0" encoding="utf-8"?>
<Types xmlns="http://schemas.openxmlformats.org/package/2006/content-types">
  <Default Extension="xml" ContentType="application/xml"/>
  <Default Extension="wmf" ContentType="image/x-wmf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268" r:id="rId2"/>
    <p:sldId id="266" r:id="rId3"/>
    <p:sldId id="258" r:id="rId4"/>
    <p:sldId id="261" r:id="rId5"/>
    <p:sldId id="269" r:id="rId6"/>
    <p:sldId id="270" r:id="rId7"/>
    <p:sldId id="271" r:id="rId8"/>
    <p:sldId id="272" r:id="rId9"/>
  </p:sldIdLst>
  <p:sldSz cx="12190413" cy="6859588"/>
  <p:notesSz cx="6805613" cy="9944100"/>
  <p:custDataLst>
    <p:tags r:id="rId12"/>
  </p:custDataLst>
  <p:defaultTextStyle>
    <a:defPPr>
      <a:defRPr lang="de-DE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4156">
          <p15:clr>
            <a:srgbClr val="A4A3A4"/>
          </p15:clr>
        </p15:guide>
        <p15:guide id="6" pos="347" userDrawn="1">
          <p15:clr>
            <a:srgbClr val="A4A3A4"/>
          </p15:clr>
        </p15:guide>
        <p15:guide id="10" orient="horz" pos="3748">
          <p15:clr>
            <a:srgbClr val="A4A3A4"/>
          </p15:clr>
        </p15:guide>
        <p15:guide id="11" orient="horz" pos="1072" userDrawn="1">
          <p15:clr>
            <a:srgbClr val="A4A3A4"/>
          </p15:clr>
        </p15:guide>
        <p15:guide id="12" pos="733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>
          <p15:clr>
            <a:srgbClr val="A4A3A4"/>
          </p15:clr>
        </p15:guide>
        <p15:guide id="2" pos="214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E3FDE45-AF77-4B5C-9715-49D594BDF05E}" styleName="Helle Formatvorlage 1 - Akz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492" autoAdjust="0"/>
    <p:restoredTop sz="91022" autoAdjust="0"/>
  </p:normalViewPr>
  <p:slideViewPr>
    <p:cSldViewPr>
      <p:cViewPr varScale="1">
        <p:scale>
          <a:sx n="95" d="100"/>
          <a:sy n="95" d="100"/>
        </p:scale>
        <p:origin x="200" y="496"/>
      </p:cViewPr>
      <p:guideLst>
        <p:guide orient="horz" pos="4156"/>
        <p:guide pos="347"/>
        <p:guide orient="horz" pos="3748"/>
        <p:guide orient="horz" pos="1072"/>
        <p:guide pos="7332"/>
      </p:guideLst>
    </p:cSldViewPr>
  </p:slideViewPr>
  <p:outlineViewPr>
    <p:cViewPr>
      <p:scale>
        <a:sx n="33" d="100"/>
        <a:sy n="33" d="100"/>
      </p:scale>
      <p:origin x="0" y="-413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-4068" y="-210"/>
      </p:cViewPr>
      <p:guideLst>
        <p:guide orient="horz" pos="3132"/>
        <p:guide pos="2143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handoutMaster" Target="handoutMasters/handoutMaster1.xml"/><Relationship Id="rId12" Type="http://schemas.openxmlformats.org/officeDocument/2006/relationships/tags" Target="tags/tag1.xml"/><Relationship Id="rId13" Type="http://schemas.openxmlformats.org/officeDocument/2006/relationships/presProps" Target="presProps.xml"/><Relationship Id="rId14" Type="http://schemas.openxmlformats.org/officeDocument/2006/relationships/viewProps" Target="viewProps.xml"/><Relationship Id="rId15" Type="http://schemas.openxmlformats.org/officeDocument/2006/relationships/theme" Target="theme/them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Relationship Id="rId2" Type="http://schemas.openxmlformats.org/officeDocument/2006/relationships/image" Target="../media/image3.wmf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767746" y="9292649"/>
            <a:ext cx="2499180" cy="504000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1200"/>
            </a:lvl1pPr>
          </a:lstStyle>
          <a:p>
            <a:endParaRPr lang="de-DE" sz="10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77838" y="9292649"/>
            <a:ext cx="432000" cy="504000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pPr algn="l"/>
            <a:fld id="{93C8CD6B-BF8D-416F-A23B-2FEDEDDDEC41}" type="slidenum">
              <a:rPr lang="de-DE" sz="1000" smtClean="0"/>
              <a:pPr algn="l"/>
              <a:t>‹Nr.›</a:t>
            </a:fld>
            <a:endParaRPr lang="de-DE" sz="1000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quarter" idx="1"/>
          </p:nvPr>
        </p:nvSpPr>
        <p:spPr>
          <a:xfrm>
            <a:off x="937716" y="9292649"/>
            <a:ext cx="792000" cy="504000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pPr algn="l"/>
            <a:fld id="{A1AA8B0B-F70D-425B-AB82-AB016245D72F}" type="datetime1">
              <a:rPr lang="de-DE" sz="1000" smtClean="0"/>
              <a:t>22.05.19</a:t>
            </a:fld>
            <a:endParaRPr lang="de-DE" sz="1000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1900" y="9292650"/>
            <a:ext cx="1800000" cy="450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9778257"/>
      </p:ext>
    </p:extLst>
  </p:cSld>
  <p:clrMap bg1="lt1" tx1="dk1" bg2="lt2" tx2="dk2" accent1="accent1" accent2="accent2" accent3="accent3" accent4="accent4" accent5="accent5" accent6="accent6" hlink="hlink" folHlink="folHlink"/>
  <p:hf/>
  <p:extLst mod="1">
    <p:ext uri="{56416CCD-93CA-4268-BC5B-53C4BB910035}">
      <p15:sldGuideLst xmlns:p15="http://schemas.microsoft.com/office/powerpoint/2012/main">
        <p15:guide id="2" pos="301" userDrawn="1">
          <p15:clr>
            <a:srgbClr val="F26B43"/>
          </p15:clr>
        </p15:guide>
        <p15:guide id="3" pos="3976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954576" y="9292720"/>
            <a:ext cx="792000" cy="504000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1000"/>
            </a:lvl1pPr>
          </a:lstStyle>
          <a:p>
            <a:fld id="{17730B74-F291-46F4-9CA2-6458E3559970}" type="datetime1">
              <a:rPr lang="de-DE" smtClean="0"/>
              <a:t>22.05.19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77838" y="507430"/>
            <a:ext cx="5832000" cy="3282859"/>
          </a:xfrm>
          <a:prstGeom prst="rect">
            <a:avLst/>
          </a:prstGeom>
          <a:noFill/>
          <a:ln w="9525">
            <a:solidFill>
              <a:schemeClr val="accent5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7838" y="4179940"/>
            <a:ext cx="5834062" cy="489668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</a:t>
            </a:r>
          </a:p>
          <a:p>
            <a:pPr lvl="6"/>
            <a:r>
              <a:rPr lang="de-DE" dirty="0"/>
              <a:t>Sieben</a:t>
            </a:r>
          </a:p>
          <a:p>
            <a:pPr lvl="7"/>
            <a:r>
              <a:rPr lang="de-DE" dirty="0"/>
              <a:t>Acht</a:t>
            </a:r>
          </a:p>
          <a:p>
            <a:pPr lvl="8"/>
            <a:r>
              <a:rPr lang="de-DE" dirty="0"/>
              <a:t>Neun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818986" y="9292720"/>
            <a:ext cx="4492914" cy="504000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10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77838" y="9292650"/>
            <a:ext cx="432000" cy="504000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1000"/>
            </a:lvl1pPr>
          </a:lstStyle>
          <a:p>
            <a:fld id="{9CB64AB4-7874-472E-9B88-D201B44CC3A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84523062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marR="0" indent="0" algn="l" defTabSz="1219170" rtl="0" eaLnBrk="1" fontAlgn="auto" latinLnBrk="0" hangingPunct="1">
      <a:lnSpc>
        <a:spcPct val="100000"/>
      </a:lnSpc>
      <a:spcBef>
        <a:spcPts val="0"/>
      </a:spcBef>
      <a:spcAft>
        <a:spcPts val="600"/>
      </a:spcAft>
      <a:buClr>
        <a:srgbClr val="0071B9"/>
      </a:buClr>
      <a:buSzTx/>
      <a:buFont typeface="Wingdings" panose="05000000000000000000" pitchFamily="2" charset="2"/>
      <a:buNone/>
      <a:tabLst/>
      <a:defRPr sz="1200" kern="1200" cap="none" baseline="0">
        <a:solidFill>
          <a:schemeClr val="tx2"/>
        </a:solidFill>
        <a:latin typeface="+mn-lt"/>
        <a:ea typeface="+mn-ea"/>
        <a:cs typeface="+mn-cs"/>
      </a:defRPr>
    </a:lvl1pPr>
    <a:lvl2pPr marL="0" marR="0" indent="0" algn="l" defTabSz="1219170" rtl="0" eaLnBrk="1" fontAlgn="auto" latinLnBrk="0" hangingPunct="1">
      <a:lnSpc>
        <a:spcPct val="100000"/>
      </a:lnSpc>
      <a:spcBef>
        <a:spcPts val="0"/>
      </a:spcBef>
      <a:spcAft>
        <a:spcPts val="600"/>
      </a:spcAft>
      <a:buClr>
        <a:srgbClr val="0071B9"/>
      </a:buClr>
      <a:buSzTx/>
      <a:buFont typeface="Wingdings" panose="05000000000000000000" pitchFamily="2" charset="2"/>
      <a:buNone/>
      <a:tabLst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80000" marR="0" indent="-180000" algn="l" defTabSz="1219170" rtl="0" eaLnBrk="1" fontAlgn="auto" latinLnBrk="0" hangingPunct="1">
      <a:lnSpc>
        <a:spcPct val="100000"/>
      </a:lnSpc>
      <a:spcBef>
        <a:spcPts val="0"/>
      </a:spcBef>
      <a:spcAft>
        <a:spcPts val="600"/>
      </a:spcAft>
      <a:buClr>
        <a:srgbClr val="0071B9"/>
      </a:buClr>
      <a:buSzTx/>
      <a:buFont typeface="Wingdings" panose="05000000000000000000" pitchFamily="2" charset="2"/>
      <a:buChar char="§"/>
      <a:tabLst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360000" marR="0" indent="-180000" algn="l" defTabSz="1219170" rtl="0" eaLnBrk="1" fontAlgn="auto" latinLnBrk="0" hangingPunct="1">
      <a:lnSpc>
        <a:spcPct val="100000"/>
      </a:lnSpc>
      <a:spcBef>
        <a:spcPts val="0"/>
      </a:spcBef>
      <a:spcAft>
        <a:spcPts val="600"/>
      </a:spcAft>
      <a:buClrTx/>
      <a:buSzTx/>
      <a:buFont typeface="Symbol" panose="05050102010706020507" pitchFamily="18" charset="2"/>
      <a:buChar char="-"/>
      <a:tabLst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39750" marR="0" indent="-180000" algn="l" defTabSz="1219170" rtl="0" eaLnBrk="1" fontAlgn="auto" latinLnBrk="0" hangingPunct="1">
      <a:lnSpc>
        <a:spcPct val="100000"/>
      </a:lnSpc>
      <a:spcBef>
        <a:spcPts val="0"/>
      </a:spcBef>
      <a:spcAft>
        <a:spcPts val="600"/>
      </a:spcAft>
      <a:buClrTx/>
      <a:buSzTx/>
      <a:buFont typeface="Symbol" panose="05050102010706020507" pitchFamily="18" charset="2"/>
      <a:buChar char="-"/>
      <a:tabLst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539750" marR="0" indent="-180000" algn="l" defTabSz="1219170" rtl="0" eaLnBrk="1" fontAlgn="auto" latinLnBrk="0" hangingPunct="1">
      <a:lnSpc>
        <a:spcPct val="100000"/>
      </a:lnSpc>
      <a:spcBef>
        <a:spcPts val="0"/>
      </a:spcBef>
      <a:spcAft>
        <a:spcPts val="600"/>
      </a:spcAft>
      <a:buClrTx/>
      <a:buSzTx/>
      <a:buFont typeface="Symbol" pitchFamily="18" charset="2"/>
      <a:buChar char="-"/>
      <a:tabLst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539750" marR="0" indent="-180000" algn="l" defTabSz="1219170" rtl="0" eaLnBrk="1" fontAlgn="auto" latinLnBrk="0" hangingPunct="1">
      <a:lnSpc>
        <a:spcPct val="100000"/>
      </a:lnSpc>
      <a:spcBef>
        <a:spcPts val="0"/>
      </a:spcBef>
      <a:spcAft>
        <a:spcPts val="600"/>
      </a:spcAft>
      <a:buClrTx/>
      <a:buSzTx/>
      <a:buFont typeface="Symbol" pitchFamily="18" charset="2"/>
      <a:buChar char="-"/>
      <a:tabLst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539750" marR="0" indent="-180000" algn="l" defTabSz="1219170" rtl="0" eaLnBrk="1" fontAlgn="auto" latinLnBrk="0" hangingPunct="1">
      <a:lnSpc>
        <a:spcPct val="100000"/>
      </a:lnSpc>
      <a:spcBef>
        <a:spcPts val="0"/>
      </a:spcBef>
      <a:spcAft>
        <a:spcPts val="600"/>
      </a:spcAft>
      <a:buClrTx/>
      <a:buSzTx/>
      <a:buFont typeface="Symbol" pitchFamily="18" charset="2"/>
      <a:buChar char="-"/>
      <a:tabLst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539750" marR="0" indent="-180000" algn="l" defTabSz="1219170" rtl="0" eaLnBrk="1" fontAlgn="auto" latinLnBrk="0" hangingPunct="1">
      <a:lnSpc>
        <a:spcPct val="100000"/>
      </a:lnSpc>
      <a:spcBef>
        <a:spcPts val="0"/>
      </a:spcBef>
      <a:spcAft>
        <a:spcPts val="600"/>
      </a:spcAft>
      <a:buClrTx/>
      <a:buSzTx/>
      <a:buFont typeface="Symbol" pitchFamily="18" charset="2"/>
      <a:buChar char="-"/>
      <a:tabLst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 mod="1">
    <p:ext uri="{620B2872-D7B9-4A21-9093-7833F8D536E1}">
      <p15:sldGuideLst xmlns:p15="http://schemas.microsoft.com/office/powerpoint/2012/main">
        <p15:guide id="1" pos="3976" userDrawn="1">
          <p15:clr>
            <a:srgbClr val="F26B43"/>
          </p15:clr>
        </p15:guide>
        <p15:guide id="2" orient="horz" pos="301" userDrawn="1">
          <p15:clr>
            <a:srgbClr val="F26B43"/>
          </p15:clr>
        </p15:guide>
        <p15:guide id="3" pos="301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8350"/>
            <a:ext cx="6816725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C0B29CD-2E76-4859-AC09-6C8603C04313}" type="slidenum">
              <a:rPr lang="de-DE" altLang="de-DE" smtClean="0"/>
              <a:pPr>
                <a:defRPr/>
              </a:pPr>
              <a:t>1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8023521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1" Type="http://schemas.openxmlformats.org/officeDocument/2006/relationships/vmlDrawing" Target="../drawings/vmlDrawing2.vml"/><Relationship Id="rId2" Type="http://schemas.openxmlformats.org/officeDocument/2006/relationships/tags" Target="../tags/tag6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w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w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1.emf"/><Relationship Id="rId6" Type="http://schemas.openxmlformats.org/officeDocument/2006/relationships/image" Target="../media/image3.wmf"/><Relationship Id="rId1" Type="http://schemas.openxmlformats.org/officeDocument/2006/relationships/vmlDrawing" Target="../drawings/vmlDrawing3.vml"/><Relationship Id="rId2" Type="http://schemas.openxmlformats.org/officeDocument/2006/relationships/tags" Target="../tags/tag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w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3.w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14174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0" y="-1"/>
            <a:ext cx="12190413" cy="5693899"/>
          </a:xfrm>
          <a:custGeom>
            <a:avLst/>
            <a:gdLst>
              <a:gd name="connsiteX0" fmla="*/ 0 w 12190413"/>
              <a:gd name="connsiteY0" fmla="*/ 0 h 6859588"/>
              <a:gd name="connsiteX1" fmla="*/ 12190413 w 12190413"/>
              <a:gd name="connsiteY1" fmla="*/ 0 h 6859588"/>
              <a:gd name="connsiteX2" fmla="*/ 12190413 w 12190413"/>
              <a:gd name="connsiteY2" fmla="*/ 6859588 h 6859588"/>
              <a:gd name="connsiteX3" fmla="*/ 12190411 w 12190413"/>
              <a:gd name="connsiteY3" fmla="*/ 6859588 h 6859588"/>
              <a:gd name="connsiteX4" fmla="*/ 12190412 w 12190413"/>
              <a:gd name="connsiteY4" fmla="*/ 5413773 h 6859588"/>
              <a:gd name="connsiteX5" fmla="*/ 12188206 w 12190413"/>
              <a:gd name="connsiteY5" fmla="*/ 5413259 h 6859588"/>
              <a:gd name="connsiteX6" fmla="*/ 12188206 w 12190413"/>
              <a:gd name="connsiteY6" fmla="*/ 5406635 h 6859588"/>
              <a:gd name="connsiteX7" fmla="*/ 12032390 w 12190413"/>
              <a:gd name="connsiteY7" fmla="*/ 5376956 h 6859588"/>
              <a:gd name="connsiteX8" fmla="*/ 11853287 w 12190413"/>
              <a:gd name="connsiteY8" fmla="*/ 5335228 h 6859588"/>
              <a:gd name="connsiteX9" fmla="*/ 9474399 w 12190413"/>
              <a:gd name="connsiteY9" fmla="*/ 5102230 h 6859588"/>
              <a:gd name="connsiteX10" fmla="*/ 9363219 w 12190413"/>
              <a:gd name="connsiteY10" fmla="*/ 5103271 h 6859588"/>
              <a:gd name="connsiteX11" fmla="*/ 9336724 w 12190413"/>
              <a:gd name="connsiteY11" fmla="*/ 5102803 h 6859588"/>
              <a:gd name="connsiteX12" fmla="*/ 9141154 w 12190413"/>
              <a:gd name="connsiteY12" fmla="*/ 5102803 h 6859588"/>
              <a:gd name="connsiteX13" fmla="*/ 8943837 w 12190413"/>
              <a:gd name="connsiteY13" fmla="*/ 5102802 h 6859588"/>
              <a:gd name="connsiteX14" fmla="*/ 8746521 w 12190413"/>
              <a:gd name="connsiteY14" fmla="*/ 5106295 h 6859588"/>
              <a:gd name="connsiteX15" fmla="*/ 8552697 w 12190413"/>
              <a:gd name="connsiteY15" fmla="*/ 5111534 h 6859588"/>
              <a:gd name="connsiteX16" fmla="*/ 8357128 w 12190413"/>
              <a:gd name="connsiteY16" fmla="*/ 5122010 h 6859588"/>
              <a:gd name="connsiteX17" fmla="*/ 8163303 w 12190413"/>
              <a:gd name="connsiteY17" fmla="*/ 5134233 h 6859588"/>
              <a:gd name="connsiteX18" fmla="*/ 7972972 w 12190413"/>
              <a:gd name="connsiteY18" fmla="*/ 5146457 h 6859588"/>
              <a:gd name="connsiteX19" fmla="*/ 7779149 w 12190413"/>
              <a:gd name="connsiteY19" fmla="*/ 5162171 h 6859588"/>
              <a:gd name="connsiteX20" fmla="*/ 7587072 w 12190413"/>
              <a:gd name="connsiteY20" fmla="*/ 5181379 h 6859588"/>
              <a:gd name="connsiteX21" fmla="*/ 7396738 w 12190413"/>
              <a:gd name="connsiteY21" fmla="*/ 5204080 h 6859588"/>
              <a:gd name="connsiteX22" fmla="*/ 7209903 w 12190413"/>
              <a:gd name="connsiteY22" fmla="*/ 5226779 h 6859588"/>
              <a:gd name="connsiteX23" fmla="*/ 7019571 w 12190413"/>
              <a:gd name="connsiteY23" fmla="*/ 5251226 h 6859588"/>
              <a:gd name="connsiteX24" fmla="*/ 6853019 w 12190413"/>
              <a:gd name="connsiteY24" fmla="*/ 5277687 h 6859588"/>
              <a:gd name="connsiteX25" fmla="*/ 6718666 w 12190413"/>
              <a:gd name="connsiteY25" fmla="*/ 5294934 h 6859588"/>
              <a:gd name="connsiteX26" fmla="*/ 6545441 w 12190413"/>
              <a:gd name="connsiteY26" fmla="*/ 5324130 h 6859588"/>
              <a:gd name="connsiteX27" fmla="*/ 6460798 w 12190413"/>
              <a:gd name="connsiteY27" fmla="*/ 5336788 h 6859588"/>
              <a:gd name="connsiteX28" fmla="*/ 6387367 w 12190413"/>
              <a:gd name="connsiteY28" fmla="*/ 5350775 h 6859588"/>
              <a:gd name="connsiteX29" fmla="*/ 6041160 w 12190413"/>
              <a:gd name="connsiteY29" fmla="*/ 5409129 h 6859588"/>
              <a:gd name="connsiteX30" fmla="*/ 5887321 w 12190413"/>
              <a:gd name="connsiteY30" fmla="*/ 5441440 h 6859588"/>
              <a:gd name="connsiteX31" fmla="*/ 5857713 w 12190413"/>
              <a:gd name="connsiteY31" fmla="*/ 5446426 h 6859588"/>
              <a:gd name="connsiteX32" fmla="*/ 1438219 w 12190413"/>
              <a:gd name="connsiteY32" fmla="*/ 5629855 h 6859588"/>
              <a:gd name="connsiteX33" fmla="*/ 1112913 w 12190413"/>
              <a:gd name="connsiteY33" fmla="*/ 5593328 h 6859588"/>
              <a:gd name="connsiteX34" fmla="*/ 1063194 w 12190413"/>
              <a:gd name="connsiteY34" fmla="*/ 5586942 h 6859588"/>
              <a:gd name="connsiteX35" fmla="*/ 750855 w 12190413"/>
              <a:gd name="connsiteY35" fmla="*/ 5541968 h 6859588"/>
              <a:gd name="connsiteX36" fmla="*/ 268553 w 12190413"/>
              <a:gd name="connsiteY36" fmla="*/ 5451471 h 6859588"/>
              <a:gd name="connsiteX37" fmla="*/ 1 w 12190413"/>
              <a:gd name="connsiteY37" fmla="*/ 5385011 h 6859588"/>
              <a:gd name="connsiteX38" fmla="*/ 0 w 12190413"/>
              <a:gd name="connsiteY38" fmla="*/ 6859588 h 6859588"/>
              <a:gd name="connsiteX39" fmla="*/ 0 w 12190413"/>
              <a:gd name="connsiteY39" fmla="*/ 6859588 h 6859588"/>
              <a:gd name="connsiteX0" fmla="*/ 0 w 12190413"/>
              <a:gd name="connsiteY0" fmla="*/ 0 h 6859588"/>
              <a:gd name="connsiteX1" fmla="*/ 12190413 w 12190413"/>
              <a:gd name="connsiteY1" fmla="*/ 0 h 6859588"/>
              <a:gd name="connsiteX2" fmla="*/ 12190413 w 12190413"/>
              <a:gd name="connsiteY2" fmla="*/ 6859588 h 6859588"/>
              <a:gd name="connsiteX3" fmla="*/ 12190412 w 12190413"/>
              <a:gd name="connsiteY3" fmla="*/ 5413773 h 6859588"/>
              <a:gd name="connsiteX4" fmla="*/ 12188206 w 12190413"/>
              <a:gd name="connsiteY4" fmla="*/ 5413259 h 6859588"/>
              <a:gd name="connsiteX5" fmla="*/ 12188206 w 12190413"/>
              <a:gd name="connsiteY5" fmla="*/ 5406635 h 6859588"/>
              <a:gd name="connsiteX6" fmla="*/ 12032390 w 12190413"/>
              <a:gd name="connsiteY6" fmla="*/ 5376956 h 6859588"/>
              <a:gd name="connsiteX7" fmla="*/ 11853287 w 12190413"/>
              <a:gd name="connsiteY7" fmla="*/ 5335228 h 6859588"/>
              <a:gd name="connsiteX8" fmla="*/ 9474399 w 12190413"/>
              <a:gd name="connsiteY8" fmla="*/ 5102230 h 6859588"/>
              <a:gd name="connsiteX9" fmla="*/ 9363219 w 12190413"/>
              <a:gd name="connsiteY9" fmla="*/ 5103271 h 6859588"/>
              <a:gd name="connsiteX10" fmla="*/ 9336724 w 12190413"/>
              <a:gd name="connsiteY10" fmla="*/ 5102803 h 6859588"/>
              <a:gd name="connsiteX11" fmla="*/ 9141154 w 12190413"/>
              <a:gd name="connsiteY11" fmla="*/ 5102803 h 6859588"/>
              <a:gd name="connsiteX12" fmla="*/ 8943837 w 12190413"/>
              <a:gd name="connsiteY12" fmla="*/ 5102802 h 6859588"/>
              <a:gd name="connsiteX13" fmla="*/ 8746521 w 12190413"/>
              <a:gd name="connsiteY13" fmla="*/ 5106295 h 6859588"/>
              <a:gd name="connsiteX14" fmla="*/ 8552697 w 12190413"/>
              <a:gd name="connsiteY14" fmla="*/ 5111534 h 6859588"/>
              <a:gd name="connsiteX15" fmla="*/ 8357128 w 12190413"/>
              <a:gd name="connsiteY15" fmla="*/ 5122010 h 6859588"/>
              <a:gd name="connsiteX16" fmla="*/ 8163303 w 12190413"/>
              <a:gd name="connsiteY16" fmla="*/ 5134233 h 6859588"/>
              <a:gd name="connsiteX17" fmla="*/ 7972972 w 12190413"/>
              <a:gd name="connsiteY17" fmla="*/ 5146457 h 6859588"/>
              <a:gd name="connsiteX18" fmla="*/ 7779149 w 12190413"/>
              <a:gd name="connsiteY18" fmla="*/ 5162171 h 6859588"/>
              <a:gd name="connsiteX19" fmla="*/ 7587072 w 12190413"/>
              <a:gd name="connsiteY19" fmla="*/ 5181379 h 6859588"/>
              <a:gd name="connsiteX20" fmla="*/ 7396738 w 12190413"/>
              <a:gd name="connsiteY20" fmla="*/ 5204080 h 6859588"/>
              <a:gd name="connsiteX21" fmla="*/ 7209903 w 12190413"/>
              <a:gd name="connsiteY21" fmla="*/ 5226779 h 6859588"/>
              <a:gd name="connsiteX22" fmla="*/ 7019571 w 12190413"/>
              <a:gd name="connsiteY22" fmla="*/ 5251226 h 6859588"/>
              <a:gd name="connsiteX23" fmla="*/ 6853019 w 12190413"/>
              <a:gd name="connsiteY23" fmla="*/ 5277687 h 6859588"/>
              <a:gd name="connsiteX24" fmla="*/ 6718666 w 12190413"/>
              <a:gd name="connsiteY24" fmla="*/ 5294934 h 6859588"/>
              <a:gd name="connsiteX25" fmla="*/ 6545441 w 12190413"/>
              <a:gd name="connsiteY25" fmla="*/ 5324130 h 6859588"/>
              <a:gd name="connsiteX26" fmla="*/ 6460798 w 12190413"/>
              <a:gd name="connsiteY26" fmla="*/ 5336788 h 6859588"/>
              <a:gd name="connsiteX27" fmla="*/ 6387367 w 12190413"/>
              <a:gd name="connsiteY27" fmla="*/ 5350775 h 6859588"/>
              <a:gd name="connsiteX28" fmla="*/ 6041160 w 12190413"/>
              <a:gd name="connsiteY28" fmla="*/ 5409129 h 6859588"/>
              <a:gd name="connsiteX29" fmla="*/ 5887321 w 12190413"/>
              <a:gd name="connsiteY29" fmla="*/ 5441440 h 6859588"/>
              <a:gd name="connsiteX30" fmla="*/ 5857713 w 12190413"/>
              <a:gd name="connsiteY30" fmla="*/ 5446426 h 6859588"/>
              <a:gd name="connsiteX31" fmla="*/ 1438219 w 12190413"/>
              <a:gd name="connsiteY31" fmla="*/ 5629855 h 6859588"/>
              <a:gd name="connsiteX32" fmla="*/ 1112913 w 12190413"/>
              <a:gd name="connsiteY32" fmla="*/ 5593328 h 6859588"/>
              <a:gd name="connsiteX33" fmla="*/ 1063194 w 12190413"/>
              <a:gd name="connsiteY33" fmla="*/ 5586942 h 6859588"/>
              <a:gd name="connsiteX34" fmla="*/ 750855 w 12190413"/>
              <a:gd name="connsiteY34" fmla="*/ 5541968 h 6859588"/>
              <a:gd name="connsiteX35" fmla="*/ 268553 w 12190413"/>
              <a:gd name="connsiteY35" fmla="*/ 5451471 h 6859588"/>
              <a:gd name="connsiteX36" fmla="*/ 1 w 12190413"/>
              <a:gd name="connsiteY36" fmla="*/ 5385011 h 6859588"/>
              <a:gd name="connsiteX37" fmla="*/ 0 w 12190413"/>
              <a:gd name="connsiteY37" fmla="*/ 6859588 h 6859588"/>
              <a:gd name="connsiteX38" fmla="*/ 0 w 12190413"/>
              <a:gd name="connsiteY38" fmla="*/ 6859588 h 6859588"/>
              <a:gd name="connsiteX39" fmla="*/ 0 w 12190413"/>
              <a:gd name="connsiteY39" fmla="*/ 0 h 6859588"/>
              <a:gd name="connsiteX0" fmla="*/ 0 w 12190413"/>
              <a:gd name="connsiteY0" fmla="*/ 0 h 6859588"/>
              <a:gd name="connsiteX1" fmla="*/ 12190413 w 12190413"/>
              <a:gd name="connsiteY1" fmla="*/ 0 h 6859588"/>
              <a:gd name="connsiteX2" fmla="*/ 12190412 w 12190413"/>
              <a:gd name="connsiteY2" fmla="*/ 5413773 h 6859588"/>
              <a:gd name="connsiteX3" fmla="*/ 12188206 w 12190413"/>
              <a:gd name="connsiteY3" fmla="*/ 5413259 h 6859588"/>
              <a:gd name="connsiteX4" fmla="*/ 12188206 w 12190413"/>
              <a:gd name="connsiteY4" fmla="*/ 5406635 h 6859588"/>
              <a:gd name="connsiteX5" fmla="*/ 12032390 w 12190413"/>
              <a:gd name="connsiteY5" fmla="*/ 5376956 h 6859588"/>
              <a:gd name="connsiteX6" fmla="*/ 11853287 w 12190413"/>
              <a:gd name="connsiteY6" fmla="*/ 5335228 h 6859588"/>
              <a:gd name="connsiteX7" fmla="*/ 9474399 w 12190413"/>
              <a:gd name="connsiteY7" fmla="*/ 5102230 h 6859588"/>
              <a:gd name="connsiteX8" fmla="*/ 9363219 w 12190413"/>
              <a:gd name="connsiteY8" fmla="*/ 5103271 h 6859588"/>
              <a:gd name="connsiteX9" fmla="*/ 9336724 w 12190413"/>
              <a:gd name="connsiteY9" fmla="*/ 5102803 h 6859588"/>
              <a:gd name="connsiteX10" fmla="*/ 9141154 w 12190413"/>
              <a:gd name="connsiteY10" fmla="*/ 5102803 h 6859588"/>
              <a:gd name="connsiteX11" fmla="*/ 8943837 w 12190413"/>
              <a:gd name="connsiteY11" fmla="*/ 5102802 h 6859588"/>
              <a:gd name="connsiteX12" fmla="*/ 8746521 w 12190413"/>
              <a:gd name="connsiteY12" fmla="*/ 5106295 h 6859588"/>
              <a:gd name="connsiteX13" fmla="*/ 8552697 w 12190413"/>
              <a:gd name="connsiteY13" fmla="*/ 5111534 h 6859588"/>
              <a:gd name="connsiteX14" fmla="*/ 8357128 w 12190413"/>
              <a:gd name="connsiteY14" fmla="*/ 5122010 h 6859588"/>
              <a:gd name="connsiteX15" fmla="*/ 8163303 w 12190413"/>
              <a:gd name="connsiteY15" fmla="*/ 5134233 h 6859588"/>
              <a:gd name="connsiteX16" fmla="*/ 7972972 w 12190413"/>
              <a:gd name="connsiteY16" fmla="*/ 5146457 h 6859588"/>
              <a:gd name="connsiteX17" fmla="*/ 7779149 w 12190413"/>
              <a:gd name="connsiteY17" fmla="*/ 5162171 h 6859588"/>
              <a:gd name="connsiteX18" fmla="*/ 7587072 w 12190413"/>
              <a:gd name="connsiteY18" fmla="*/ 5181379 h 6859588"/>
              <a:gd name="connsiteX19" fmla="*/ 7396738 w 12190413"/>
              <a:gd name="connsiteY19" fmla="*/ 5204080 h 6859588"/>
              <a:gd name="connsiteX20" fmla="*/ 7209903 w 12190413"/>
              <a:gd name="connsiteY20" fmla="*/ 5226779 h 6859588"/>
              <a:gd name="connsiteX21" fmla="*/ 7019571 w 12190413"/>
              <a:gd name="connsiteY21" fmla="*/ 5251226 h 6859588"/>
              <a:gd name="connsiteX22" fmla="*/ 6853019 w 12190413"/>
              <a:gd name="connsiteY22" fmla="*/ 5277687 h 6859588"/>
              <a:gd name="connsiteX23" fmla="*/ 6718666 w 12190413"/>
              <a:gd name="connsiteY23" fmla="*/ 5294934 h 6859588"/>
              <a:gd name="connsiteX24" fmla="*/ 6545441 w 12190413"/>
              <a:gd name="connsiteY24" fmla="*/ 5324130 h 6859588"/>
              <a:gd name="connsiteX25" fmla="*/ 6460798 w 12190413"/>
              <a:gd name="connsiteY25" fmla="*/ 5336788 h 6859588"/>
              <a:gd name="connsiteX26" fmla="*/ 6387367 w 12190413"/>
              <a:gd name="connsiteY26" fmla="*/ 5350775 h 6859588"/>
              <a:gd name="connsiteX27" fmla="*/ 6041160 w 12190413"/>
              <a:gd name="connsiteY27" fmla="*/ 5409129 h 6859588"/>
              <a:gd name="connsiteX28" fmla="*/ 5887321 w 12190413"/>
              <a:gd name="connsiteY28" fmla="*/ 5441440 h 6859588"/>
              <a:gd name="connsiteX29" fmla="*/ 5857713 w 12190413"/>
              <a:gd name="connsiteY29" fmla="*/ 5446426 h 6859588"/>
              <a:gd name="connsiteX30" fmla="*/ 1438219 w 12190413"/>
              <a:gd name="connsiteY30" fmla="*/ 5629855 h 6859588"/>
              <a:gd name="connsiteX31" fmla="*/ 1112913 w 12190413"/>
              <a:gd name="connsiteY31" fmla="*/ 5593328 h 6859588"/>
              <a:gd name="connsiteX32" fmla="*/ 1063194 w 12190413"/>
              <a:gd name="connsiteY32" fmla="*/ 5586942 h 6859588"/>
              <a:gd name="connsiteX33" fmla="*/ 750855 w 12190413"/>
              <a:gd name="connsiteY33" fmla="*/ 5541968 h 6859588"/>
              <a:gd name="connsiteX34" fmla="*/ 268553 w 12190413"/>
              <a:gd name="connsiteY34" fmla="*/ 5451471 h 6859588"/>
              <a:gd name="connsiteX35" fmla="*/ 1 w 12190413"/>
              <a:gd name="connsiteY35" fmla="*/ 5385011 h 6859588"/>
              <a:gd name="connsiteX36" fmla="*/ 0 w 12190413"/>
              <a:gd name="connsiteY36" fmla="*/ 6859588 h 6859588"/>
              <a:gd name="connsiteX37" fmla="*/ 0 w 12190413"/>
              <a:gd name="connsiteY37" fmla="*/ 6859588 h 6859588"/>
              <a:gd name="connsiteX38" fmla="*/ 0 w 12190413"/>
              <a:gd name="connsiteY38" fmla="*/ 0 h 6859588"/>
              <a:gd name="connsiteX0" fmla="*/ 0 w 12190413"/>
              <a:gd name="connsiteY0" fmla="*/ 0 h 6859588"/>
              <a:gd name="connsiteX1" fmla="*/ 12190413 w 12190413"/>
              <a:gd name="connsiteY1" fmla="*/ 0 h 6859588"/>
              <a:gd name="connsiteX2" fmla="*/ 12190412 w 12190413"/>
              <a:gd name="connsiteY2" fmla="*/ 5413773 h 6859588"/>
              <a:gd name="connsiteX3" fmla="*/ 12188206 w 12190413"/>
              <a:gd name="connsiteY3" fmla="*/ 5413259 h 6859588"/>
              <a:gd name="connsiteX4" fmla="*/ 12188206 w 12190413"/>
              <a:gd name="connsiteY4" fmla="*/ 5406635 h 6859588"/>
              <a:gd name="connsiteX5" fmla="*/ 12032390 w 12190413"/>
              <a:gd name="connsiteY5" fmla="*/ 5376956 h 6859588"/>
              <a:gd name="connsiteX6" fmla="*/ 11853287 w 12190413"/>
              <a:gd name="connsiteY6" fmla="*/ 5335228 h 6859588"/>
              <a:gd name="connsiteX7" fmla="*/ 9474399 w 12190413"/>
              <a:gd name="connsiteY7" fmla="*/ 5102230 h 6859588"/>
              <a:gd name="connsiteX8" fmla="*/ 9363219 w 12190413"/>
              <a:gd name="connsiteY8" fmla="*/ 5103271 h 6859588"/>
              <a:gd name="connsiteX9" fmla="*/ 9336724 w 12190413"/>
              <a:gd name="connsiteY9" fmla="*/ 5102803 h 6859588"/>
              <a:gd name="connsiteX10" fmla="*/ 9141154 w 12190413"/>
              <a:gd name="connsiteY10" fmla="*/ 5102803 h 6859588"/>
              <a:gd name="connsiteX11" fmla="*/ 8943837 w 12190413"/>
              <a:gd name="connsiteY11" fmla="*/ 5102802 h 6859588"/>
              <a:gd name="connsiteX12" fmla="*/ 8746521 w 12190413"/>
              <a:gd name="connsiteY12" fmla="*/ 5106295 h 6859588"/>
              <a:gd name="connsiteX13" fmla="*/ 8552697 w 12190413"/>
              <a:gd name="connsiteY13" fmla="*/ 5111534 h 6859588"/>
              <a:gd name="connsiteX14" fmla="*/ 8357128 w 12190413"/>
              <a:gd name="connsiteY14" fmla="*/ 5122010 h 6859588"/>
              <a:gd name="connsiteX15" fmla="*/ 8163303 w 12190413"/>
              <a:gd name="connsiteY15" fmla="*/ 5134233 h 6859588"/>
              <a:gd name="connsiteX16" fmla="*/ 7972972 w 12190413"/>
              <a:gd name="connsiteY16" fmla="*/ 5146457 h 6859588"/>
              <a:gd name="connsiteX17" fmla="*/ 7779149 w 12190413"/>
              <a:gd name="connsiteY17" fmla="*/ 5162171 h 6859588"/>
              <a:gd name="connsiteX18" fmla="*/ 7587072 w 12190413"/>
              <a:gd name="connsiteY18" fmla="*/ 5181379 h 6859588"/>
              <a:gd name="connsiteX19" fmla="*/ 7396738 w 12190413"/>
              <a:gd name="connsiteY19" fmla="*/ 5204080 h 6859588"/>
              <a:gd name="connsiteX20" fmla="*/ 7209903 w 12190413"/>
              <a:gd name="connsiteY20" fmla="*/ 5226779 h 6859588"/>
              <a:gd name="connsiteX21" fmla="*/ 7019571 w 12190413"/>
              <a:gd name="connsiteY21" fmla="*/ 5251226 h 6859588"/>
              <a:gd name="connsiteX22" fmla="*/ 6853019 w 12190413"/>
              <a:gd name="connsiteY22" fmla="*/ 5277687 h 6859588"/>
              <a:gd name="connsiteX23" fmla="*/ 6718666 w 12190413"/>
              <a:gd name="connsiteY23" fmla="*/ 5294934 h 6859588"/>
              <a:gd name="connsiteX24" fmla="*/ 6545441 w 12190413"/>
              <a:gd name="connsiteY24" fmla="*/ 5324130 h 6859588"/>
              <a:gd name="connsiteX25" fmla="*/ 6460798 w 12190413"/>
              <a:gd name="connsiteY25" fmla="*/ 5336788 h 6859588"/>
              <a:gd name="connsiteX26" fmla="*/ 6387367 w 12190413"/>
              <a:gd name="connsiteY26" fmla="*/ 5350775 h 6859588"/>
              <a:gd name="connsiteX27" fmla="*/ 6041160 w 12190413"/>
              <a:gd name="connsiteY27" fmla="*/ 5409129 h 6859588"/>
              <a:gd name="connsiteX28" fmla="*/ 5887321 w 12190413"/>
              <a:gd name="connsiteY28" fmla="*/ 5441440 h 6859588"/>
              <a:gd name="connsiteX29" fmla="*/ 5857713 w 12190413"/>
              <a:gd name="connsiteY29" fmla="*/ 5446426 h 6859588"/>
              <a:gd name="connsiteX30" fmla="*/ 1438219 w 12190413"/>
              <a:gd name="connsiteY30" fmla="*/ 5629855 h 6859588"/>
              <a:gd name="connsiteX31" fmla="*/ 1112913 w 12190413"/>
              <a:gd name="connsiteY31" fmla="*/ 5593328 h 6859588"/>
              <a:gd name="connsiteX32" fmla="*/ 1063194 w 12190413"/>
              <a:gd name="connsiteY32" fmla="*/ 5586942 h 6859588"/>
              <a:gd name="connsiteX33" fmla="*/ 750855 w 12190413"/>
              <a:gd name="connsiteY33" fmla="*/ 5541968 h 6859588"/>
              <a:gd name="connsiteX34" fmla="*/ 268553 w 12190413"/>
              <a:gd name="connsiteY34" fmla="*/ 5451471 h 6859588"/>
              <a:gd name="connsiteX35" fmla="*/ 1 w 12190413"/>
              <a:gd name="connsiteY35" fmla="*/ 5385011 h 6859588"/>
              <a:gd name="connsiteX36" fmla="*/ 0 w 12190413"/>
              <a:gd name="connsiteY36" fmla="*/ 6859588 h 6859588"/>
              <a:gd name="connsiteX37" fmla="*/ 0 w 12190413"/>
              <a:gd name="connsiteY37" fmla="*/ 0 h 6859588"/>
              <a:gd name="connsiteX0" fmla="*/ 913021 w 13103434"/>
              <a:gd name="connsiteY0" fmla="*/ 0 h 5693899"/>
              <a:gd name="connsiteX1" fmla="*/ 13103434 w 13103434"/>
              <a:gd name="connsiteY1" fmla="*/ 0 h 5693899"/>
              <a:gd name="connsiteX2" fmla="*/ 13103433 w 13103434"/>
              <a:gd name="connsiteY2" fmla="*/ 5413773 h 5693899"/>
              <a:gd name="connsiteX3" fmla="*/ 13101227 w 13103434"/>
              <a:gd name="connsiteY3" fmla="*/ 5413259 h 5693899"/>
              <a:gd name="connsiteX4" fmla="*/ 13101227 w 13103434"/>
              <a:gd name="connsiteY4" fmla="*/ 5406635 h 5693899"/>
              <a:gd name="connsiteX5" fmla="*/ 12945411 w 13103434"/>
              <a:gd name="connsiteY5" fmla="*/ 5376956 h 5693899"/>
              <a:gd name="connsiteX6" fmla="*/ 12766308 w 13103434"/>
              <a:gd name="connsiteY6" fmla="*/ 5335228 h 5693899"/>
              <a:gd name="connsiteX7" fmla="*/ 10387420 w 13103434"/>
              <a:gd name="connsiteY7" fmla="*/ 5102230 h 5693899"/>
              <a:gd name="connsiteX8" fmla="*/ 10276240 w 13103434"/>
              <a:gd name="connsiteY8" fmla="*/ 5103271 h 5693899"/>
              <a:gd name="connsiteX9" fmla="*/ 10249745 w 13103434"/>
              <a:gd name="connsiteY9" fmla="*/ 5102803 h 5693899"/>
              <a:gd name="connsiteX10" fmla="*/ 10054175 w 13103434"/>
              <a:gd name="connsiteY10" fmla="*/ 5102803 h 5693899"/>
              <a:gd name="connsiteX11" fmla="*/ 9856858 w 13103434"/>
              <a:gd name="connsiteY11" fmla="*/ 5102802 h 5693899"/>
              <a:gd name="connsiteX12" fmla="*/ 9659542 w 13103434"/>
              <a:gd name="connsiteY12" fmla="*/ 5106295 h 5693899"/>
              <a:gd name="connsiteX13" fmla="*/ 9465718 w 13103434"/>
              <a:gd name="connsiteY13" fmla="*/ 5111534 h 5693899"/>
              <a:gd name="connsiteX14" fmla="*/ 9270149 w 13103434"/>
              <a:gd name="connsiteY14" fmla="*/ 5122010 h 5693899"/>
              <a:gd name="connsiteX15" fmla="*/ 9076324 w 13103434"/>
              <a:gd name="connsiteY15" fmla="*/ 5134233 h 5693899"/>
              <a:gd name="connsiteX16" fmla="*/ 8885993 w 13103434"/>
              <a:gd name="connsiteY16" fmla="*/ 5146457 h 5693899"/>
              <a:gd name="connsiteX17" fmla="*/ 8692170 w 13103434"/>
              <a:gd name="connsiteY17" fmla="*/ 5162171 h 5693899"/>
              <a:gd name="connsiteX18" fmla="*/ 8500093 w 13103434"/>
              <a:gd name="connsiteY18" fmla="*/ 5181379 h 5693899"/>
              <a:gd name="connsiteX19" fmla="*/ 8309759 w 13103434"/>
              <a:gd name="connsiteY19" fmla="*/ 5204080 h 5693899"/>
              <a:gd name="connsiteX20" fmla="*/ 8122924 w 13103434"/>
              <a:gd name="connsiteY20" fmla="*/ 5226779 h 5693899"/>
              <a:gd name="connsiteX21" fmla="*/ 7932592 w 13103434"/>
              <a:gd name="connsiteY21" fmla="*/ 5251226 h 5693899"/>
              <a:gd name="connsiteX22" fmla="*/ 7766040 w 13103434"/>
              <a:gd name="connsiteY22" fmla="*/ 5277687 h 5693899"/>
              <a:gd name="connsiteX23" fmla="*/ 7631687 w 13103434"/>
              <a:gd name="connsiteY23" fmla="*/ 5294934 h 5693899"/>
              <a:gd name="connsiteX24" fmla="*/ 7458462 w 13103434"/>
              <a:gd name="connsiteY24" fmla="*/ 5324130 h 5693899"/>
              <a:gd name="connsiteX25" fmla="*/ 7373819 w 13103434"/>
              <a:gd name="connsiteY25" fmla="*/ 5336788 h 5693899"/>
              <a:gd name="connsiteX26" fmla="*/ 7300388 w 13103434"/>
              <a:gd name="connsiteY26" fmla="*/ 5350775 h 5693899"/>
              <a:gd name="connsiteX27" fmla="*/ 6954181 w 13103434"/>
              <a:gd name="connsiteY27" fmla="*/ 5409129 h 5693899"/>
              <a:gd name="connsiteX28" fmla="*/ 6800342 w 13103434"/>
              <a:gd name="connsiteY28" fmla="*/ 5441440 h 5693899"/>
              <a:gd name="connsiteX29" fmla="*/ 6770734 w 13103434"/>
              <a:gd name="connsiteY29" fmla="*/ 5446426 h 5693899"/>
              <a:gd name="connsiteX30" fmla="*/ 2351240 w 13103434"/>
              <a:gd name="connsiteY30" fmla="*/ 5629855 h 5693899"/>
              <a:gd name="connsiteX31" fmla="*/ 2025934 w 13103434"/>
              <a:gd name="connsiteY31" fmla="*/ 5593328 h 5693899"/>
              <a:gd name="connsiteX32" fmla="*/ 1976215 w 13103434"/>
              <a:gd name="connsiteY32" fmla="*/ 5586942 h 5693899"/>
              <a:gd name="connsiteX33" fmla="*/ 1663876 w 13103434"/>
              <a:gd name="connsiteY33" fmla="*/ 5541968 h 5693899"/>
              <a:gd name="connsiteX34" fmla="*/ 1181574 w 13103434"/>
              <a:gd name="connsiteY34" fmla="*/ 5451471 h 5693899"/>
              <a:gd name="connsiteX35" fmla="*/ 913022 w 13103434"/>
              <a:gd name="connsiteY35" fmla="*/ 5385011 h 5693899"/>
              <a:gd name="connsiteX36" fmla="*/ 913021 w 13103434"/>
              <a:gd name="connsiteY36" fmla="*/ 0 h 5693899"/>
              <a:gd name="connsiteX0" fmla="*/ 48639 w 12239052"/>
              <a:gd name="connsiteY0" fmla="*/ 0 h 5693899"/>
              <a:gd name="connsiteX1" fmla="*/ 12239052 w 12239052"/>
              <a:gd name="connsiteY1" fmla="*/ 0 h 5693899"/>
              <a:gd name="connsiteX2" fmla="*/ 12239051 w 12239052"/>
              <a:gd name="connsiteY2" fmla="*/ 5413773 h 5693899"/>
              <a:gd name="connsiteX3" fmla="*/ 12236845 w 12239052"/>
              <a:gd name="connsiteY3" fmla="*/ 5413259 h 5693899"/>
              <a:gd name="connsiteX4" fmla="*/ 12236845 w 12239052"/>
              <a:gd name="connsiteY4" fmla="*/ 5406635 h 5693899"/>
              <a:gd name="connsiteX5" fmla="*/ 12081029 w 12239052"/>
              <a:gd name="connsiteY5" fmla="*/ 5376956 h 5693899"/>
              <a:gd name="connsiteX6" fmla="*/ 11901926 w 12239052"/>
              <a:gd name="connsiteY6" fmla="*/ 5335228 h 5693899"/>
              <a:gd name="connsiteX7" fmla="*/ 9523038 w 12239052"/>
              <a:gd name="connsiteY7" fmla="*/ 5102230 h 5693899"/>
              <a:gd name="connsiteX8" fmla="*/ 9411858 w 12239052"/>
              <a:gd name="connsiteY8" fmla="*/ 5103271 h 5693899"/>
              <a:gd name="connsiteX9" fmla="*/ 9385363 w 12239052"/>
              <a:gd name="connsiteY9" fmla="*/ 5102803 h 5693899"/>
              <a:gd name="connsiteX10" fmla="*/ 9189793 w 12239052"/>
              <a:gd name="connsiteY10" fmla="*/ 5102803 h 5693899"/>
              <a:gd name="connsiteX11" fmla="*/ 8992476 w 12239052"/>
              <a:gd name="connsiteY11" fmla="*/ 5102802 h 5693899"/>
              <a:gd name="connsiteX12" fmla="*/ 8795160 w 12239052"/>
              <a:gd name="connsiteY12" fmla="*/ 5106295 h 5693899"/>
              <a:gd name="connsiteX13" fmla="*/ 8601336 w 12239052"/>
              <a:gd name="connsiteY13" fmla="*/ 5111534 h 5693899"/>
              <a:gd name="connsiteX14" fmla="*/ 8405767 w 12239052"/>
              <a:gd name="connsiteY14" fmla="*/ 5122010 h 5693899"/>
              <a:gd name="connsiteX15" fmla="*/ 8211942 w 12239052"/>
              <a:gd name="connsiteY15" fmla="*/ 5134233 h 5693899"/>
              <a:gd name="connsiteX16" fmla="*/ 8021611 w 12239052"/>
              <a:gd name="connsiteY16" fmla="*/ 5146457 h 5693899"/>
              <a:gd name="connsiteX17" fmla="*/ 7827788 w 12239052"/>
              <a:gd name="connsiteY17" fmla="*/ 5162171 h 5693899"/>
              <a:gd name="connsiteX18" fmla="*/ 7635711 w 12239052"/>
              <a:gd name="connsiteY18" fmla="*/ 5181379 h 5693899"/>
              <a:gd name="connsiteX19" fmla="*/ 7445377 w 12239052"/>
              <a:gd name="connsiteY19" fmla="*/ 5204080 h 5693899"/>
              <a:gd name="connsiteX20" fmla="*/ 7258542 w 12239052"/>
              <a:gd name="connsiteY20" fmla="*/ 5226779 h 5693899"/>
              <a:gd name="connsiteX21" fmla="*/ 7068210 w 12239052"/>
              <a:gd name="connsiteY21" fmla="*/ 5251226 h 5693899"/>
              <a:gd name="connsiteX22" fmla="*/ 6901658 w 12239052"/>
              <a:gd name="connsiteY22" fmla="*/ 5277687 h 5693899"/>
              <a:gd name="connsiteX23" fmla="*/ 6767305 w 12239052"/>
              <a:gd name="connsiteY23" fmla="*/ 5294934 h 5693899"/>
              <a:gd name="connsiteX24" fmla="*/ 6594080 w 12239052"/>
              <a:gd name="connsiteY24" fmla="*/ 5324130 h 5693899"/>
              <a:gd name="connsiteX25" fmla="*/ 6509437 w 12239052"/>
              <a:gd name="connsiteY25" fmla="*/ 5336788 h 5693899"/>
              <a:gd name="connsiteX26" fmla="*/ 6436006 w 12239052"/>
              <a:gd name="connsiteY26" fmla="*/ 5350775 h 5693899"/>
              <a:gd name="connsiteX27" fmla="*/ 6089799 w 12239052"/>
              <a:gd name="connsiteY27" fmla="*/ 5409129 h 5693899"/>
              <a:gd name="connsiteX28" fmla="*/ 5935960 w 12239052"/>
              <a:gd name="connsiteY28" fmla="*/ 5441440 h 5693899"/>
              <a:gd name="connsiteX29" fmla="*/ 5906352 w 12239052"/>
              <a:gd name="connsiteY29" fmla="*/ 5446426 h 5693899"/>
              <a:gd name="connsiteX30" fmla="*/ 1486858 w 12239052"/>
              <a:gd name="connsiteY30" fmla="*/ 5629855 h 5693899"/>
              <a:gd name="connsiteX31" fmla="*/ 1161552 w 12239052"/>
              <a:gd name="connsiteY31" fmla="*/ 5593328 h 5693899"/>
              <a:gd name="connsiteX32" fmla="*/ 1111833 w 12239052"/>
              <a:gd name="connsiteY32" fmla="*/ 5586942 h 5693899"/>
              <a:gd name="connsiteX33" fmla="*/ 799494 w 12239052"/>
              <a:gd name="connsiteY33" fmla="*/ 5541968 h 5693899"/>
              <a:gd name="connsiteX34" fmla="*/ 317192 w 12239052"/>
              <a:gd name="connsiteY34" fmla="*/ 5451471 h 5693899"/>
              <a:gd name="connsiteX35" fmla="*/ 48640 w 12239052"/>
              <a:gd name="connsiteY35" fmla="*/ 5385011 h 5693899"/>
              <a:gd name="connsiteX36" fmla="*/ 48639 w 12239052"/>
              <a:gd name="connsiteY36" fmla="*/ 0 h 5693899"/>
              <a:gd name="connsiteX0" fmla="*/ 19150 w 12209563"/>
              <a:gd name="connsiteY0" fmla="*/ 0 h 5693899"/>
              <a:gd name="connsiteX1" fmla="*/ 12209563 w 12209563"/>
              <a:gd name="connsiteY1" fmla="*/ 0 h 5693899"/>
              <a:gd name="connsiteX2" fmla="*/ 12209562 w 12209563"/>
              <a:gd name="connsiteY2" fmla="*/ 5413773 h 5693899"/>
              <a:gd name="connsiteX3" fmla="*/ 12207356 w 12209563"/>
              <a:gd name="connsiteY3" fmla="*/ 5413259 h 5693899"/>
              <a:gd name="connsiteX4" fmla="*/ 12207356 w 12209563"/>
              <a:gd name="connsiteY4" fmla="*/ 5406635 h 5693899"/>
              <a:gd name="connsiteX5" fmla="*/ 12051540 w 12209563"/>
              <a:gd name="connsiteY5" fmla="*/ 5376956 h 5693899"/>
              <a:gd name="connsiteX6" fmla="*/ 11872437 w 12209563"/>
              <a:gd name="connsiteY6" fmla="*/ 5335228 h 5693899"/>
              <a:gd name="connsiteX7" fmla="*/ 9493549 w 12209563"/>
              <a:gd name="connsiteY7" fmla="*/ 5102230 h 5693899"/>
              <a:gd name="connsiteX8" fmla="*/ 9382369 w 12209563"/>
              <a:gd name="connsiteY8" fmla="*/ 5103271 h 5693899"/>
              <a:gd name="connsiteX9" fmla="*/ 9355874 w 12209563"/>
              <a:gd name="connsiteY9" fmla="*/ 5102803 h 5693899"/>
              <a:gd name="connsiteX10" fmla="*/ 9160304 w 12209563"/>
              <a:gd name="connsiteY10" fmla="*/ 5102803 h 5693899"/>
              <a:gd name="connsiteX11" fmla="*/ 8962987 w 12209563"/>
              <a:gd name="connsiteY11" fmla="*/ 5102802 h 5693899"/>
              <a:gd name="connsiteX12" fmla="*/ 8765671 w 12209563"/>
              <a:gd name="connsiteY12" fmla="*/ 5106295 h 5693899"/>
              <a:gd name="connsiteX13" fmla="*/ 8571847 w 12209563"/>
              <a:gd name="connsiteY13" fmla="*/ 5111534 h 5693899"/>
              <a:gd name="connsiteX14" fmla="*/ 8376278 w 12209563"/>
              <a:gd name="connsiteY14" fmla="*/ 5122010 h 5693899"/>
              <a:gd name="connsiteX15" fmla="*/ 8182453 w 12209563"/>
              <a:gd name="connsiteY15" fmla="*/ 5134233 h 5693899"/>
              <a:gd name="connsiteX16" fmla="*/ 7992122 w 12209563"/>
              <a:gd name="connsiteY16" fmla="*/ 5146457 h 5693899"/>
              <a:gd name="connsiteX17" fmla="*/ 7798299 w 12209563"/>
              <a:gd name="connsiteY17" fmla="*/ 5162171 h 5693899"/>
              <a:gd name="connsiteX18" fmla="*/ 7606222 w 12209563"/>
              <a:gd name="connsiteY18" fmla="*/ 5181379 h 5693899"/>
              <a:gd name="connsiteX19" fmla="*/ 7415888 w 12209563"/>
              <a:gd name="connsiteY19" fmla="*/ 5204080 h 5693899"/>
              <a:gd name="connsiteX20" fmla="*/ 7229053 w 12209563"/>
              <a:gd name="connsiteY20" fmla="*/ 5226779 h 5693899"/>
              <a:gd name="connsiteX21" fmla="*/ 7038721 w 12209563"/>
              <a:gd name="connsiteY21" fmla="*/ 5251226 h 5693899"/>
              <a:gd name="connsiteX22" fmla="*/ 6872169 w 12209563"/>
              <a:gd name="connsiteY22" fmla="*/ 5277687 h 5693899"/>
              <a:gd name="connsiteX23" fmla="*/ 6737816 w 12209563"/>
              <a:gd name="connsiteY23" fmla="*/ 5294934 h 5693899"/>
              <a:gd name="connsiteX24" fmla="*/ 6564591 w 12209563"/>
              <a:gd name="connsiteY24" fmla="*/ 5324130 h 5693899"/>
              <a:gd name="connsiteX25" fmla="*/ 6479948 w 12209563"/>
              <a:gd name="connsiteY25" fmla="*/ 5336788 h 5693899"/>
              <a:gd name="connsiteX26" fmla="*/ 6406517 w 12209563"/>
              <a:gd name="connsiteY26" fmla="*/ 5350775 h 5693899"/>
              <a:gd name="connsiteX27" fmla="*/ 6060310 w 12209563"/>
              <a:gd name="connsiteY27" fmla="*/ 5409129 h 5693899"/>
              <a:gd name="connsiteX28" fmla="*/ 5906471 w 12209563"/>
              <a:gd name="connsiteY28" fmla="*/ 5441440 h 5693899"/>
              <a:gd name="connsiteX29" fmla="*/ 5876863 w 12209563"/>
              <a:gd name="connsiteY29" fmla="*/ 5446426 h 5693899"/>
              <a:gd name="connsiteX30" fmla="*/ 1457369 w 12209563"/>
              <a:gd name="connsiteY30" fmla="*/ 5629855 h 5693899"/>
              <a:gd name="connsiteX31" fmla="*/ 1132063 w 12209563"/>
              <a:gd name="connsiteY31" fmla="*/ 5593328 h 5693899"/>
              <a:gd name="connsiteX32" fmla="*/ 1082344 w 12209563"/>
              <a:gd name="connsiteY32" fmla="*/ 5586942 h 5693899"/>
              <a:gd name="connsiteX33" fmla="*/ 770005 w 12209563"/>
              <a:gd name="connsiteY33" fmla="*/ 5541968 h 5693899"/>
              <a:gd name="connsiteX34" fmla="*/ 287703 w 12209563"/>
              <a:gd name="connsiteY34" fmla="*/ 5451471 h 5693899"/>
              <a:gd name="connsiteX35" fmla="*/ 19151 w 12209563"/>
              <a:gd name="connsiteY35" fmla="*/ 5385011 h 5693899"/>
              <a:gd name="connsiteX36" fmla="*/ 19150 w 12209563"/>
              <a:gd name="connsiteY36" fmla="*/ 0 h 5693899"/>
              <a:gd name="connsiteX0" fmla="*/ 0 w 12190413"/>
              <a:gd name="connsiteY0" fmla="*/ 0 h 5693899"/>
              <a:gd name="connsiteX1" fmla="*/ 12190413 w 12190413"/>
              <a:gd name="connsiteY1" fmla="*/ 0 h 5693899"/>
              <a:gd name="connsiteX2" fmla="*/ 12190412 w 12190413"/>
              <a:gd name="connsiteY2" fmla="*/ 5413773 h 5693899"/>
              <a:gd name="connsiteX3" fmla="*/ 12188206 w 12190413"/>
              <a:gd name="connsiteY3" fmla="*/ 5413259 h 5693899"/>
              <a:gd name="connsiteX4" fmla="*/ 12188206 w 12190413"/>
              <a:gd name="connsiteY4" fmla="*/ 5406635 h 5693899"/>
              <a:gd name="connsiteX5" fmla="*/ 12032390 w 12190413"/>
              <a:gd name="connsiteY5" fmla="*/ 5376956 h 5693899"/>
              <a:gd name="connsiteX6" fmla="*/ 11853287 w 12190413"/>
              <a:gd name="connsiteY6" fmla="*/ 5335228 h 5693899"/>
              <a:gd name="connsiteX7" fmla="*/ 9474399 w 12190413"/>
              <a:gd name="connsiteY7" fmla="*/ 5102230 h 5693899"/>
              <a:gd name="connsiteX8" fmla="*/ 9363219 w 12190413"/>
              <a:gd name="connsiteY8" fmla="*/ 5103271 h 5693899"/>
              <a:gd name="connsiteX9" fmla="*/ 9336724 w 12190413"/>
              <a:gd name="connsiteY9" fmla="*/ 5102803 h 5693899"/>
              <a:gd name="connsiteX10" fmla="*/ 9141154 w 12190413"/>
              <a:gd name="connsiteY10" fmla="*/ 5102803 h 5693899"/>
              <a:gd name="connsiteX11" fmla="*/ 8943837 w 12190413"/>
              <a:gd name="connsiteY11" fmla="*/ 5102802 h 5693899"/>
              <a:gd name="connsiteX12" fmla="*/ 8746521 w 12190413"/>
              <a:gd name="connsiteY12" fmla="*/ 5106295 h 5693899"/>
              <a:gd name="connsiteX13" fmla="*/ 8552697 w 12190413"/>
              <a:gd name="connsiteY13" fmla="*/ 5111534 h 5693899"/>
              <a:gd name="connsiteX14" fmla="*/ 8357128 w 12190413"/>
              <a:gd name="connsiteY14" fmla="*/ 5122010 h 5693899"/>
              <a:gd name="connsiteX15" fmla="*/ 8163303 w 12190413"/>
              <a:gd name="connsiteY15" fmla="*/ 5134233 h 5693899"/>
              <a:gd name="connsiteX16" fmla="*/ 7972972 w 12190413"/>
              <a:gd name="connsiteY16" fmla="*/ 5146457 h 5693899"/>
              <a:gd name="connsiteX17" fmla="*/ 7779149 w 12190413"/>
              <a:gd name="connsiteY17" fmla="*/ 5162171 h 5693899"/>
              <a:gd name="connsiteX18" fmla="*/ 7587072 w 12190413"/>
              <a:gd name="connsiteY18" fmla="*/ 5181379 h 5693899"/>
              <a:gd name="connsiteX19" fmla="*/ 7396738 w 12190413"/>
              <a:gd name="connsiteY19" fmla="*/ 5204080 h 5693899"/>
              <a:gd name="connsiteX20" fmla="*/ 7209903 w 12190413"/>
              <a:gd name="connsiteY20" fmla="*/ 5226779 h 5693899"/>
              <a:gd name="connsiteX21" fmla="*/ 7019571 w 12190413"/>
              <a:gd name="connsiteY21" fmla="*/ 5251226 h 5693899"/>
              <a:gd name="connsiteX22" fmla="*/ 6853019 w 12190413"/>
              <a:gd name="connsiteY22" fmla="*/ 5277687 h 5693899"/>
              <a:gd name="connsiteX23" fmla="*/ 6718666 w 12190413"/>
              <a:gd name="connsiteY23" fmla="*/ 5294934 h 5693899"/>
              <a:gd name="connsiteX24" fmla="*/ 6545441 w 12190413"/>
              <a:gd name="connsiteY24" fmla="*/ 5324130 h 5693899"/>
              <a:gd name="connsiteX25" fmla="*/ 6460798 w 12190413"/>
              <a:gd name="connsiteY25" fmla="*/ 5336788 h 5693899"/>
              <a:gd name="connsiteX26" fmla="*/ 6387367 w 12190413"/>
              <a:gd name="connsiteY26" fmla="*/ 5350775 h 5693899"/>
              <a:gd name="connsiteX27" fmla="*/ 6041160 w 12190413"/>
              <a:gd name="connsiteY27" fmla="*/ 5409129 h 5693899"/>
              <a:gd name="connsiteX28" fmla="*/ 5887321 w 12190413"/>
              <a:gd name="connsiteY28" fmla="*/ 5441440 h 5693899"/>
              <a:gd name="connsiteX29" fmla="*/ 5857713 w 12190413"/>
              <a:gd name="connsiteY29" fmla="*/ 5446426 h 5693899"/>
              <a:gd name="connsiteX30" fmla="*/ 1438219 w 12190413"/>
              <a:gd name="connsiteY30" fmla="*/ 5629855 h 5693899"/>
              <a:gd name="connsiteX31" fmla="*/ 1112913 w 12190413"/>
              <a:gd name="connsiteY31" fmla="*/ 5593328 h 5693899"/>
              <a:gd name="connsiteX32" fmla="*/ 1063194 w 12190413"/>
              <a:gd name="connsiteY32" fmla="*/ 5586942 h 5693899"/>
              <a:gd name="connsiteX33" fmla="*/ 750855 w 12190413"/>
              <a:gd name="connsiteY33" fmla="*/ 5541968 h 5693899"/>
              <a:gd name="connsiteX34" fmla="*/ 268553 w 12190413"/>
              <a:gd name="connsiteY34" fmla="*/ 5451471 h 5693899"/>
              <a:gd name="connsiteX35" fmla="*/ 1 w 12190413"/>
              <a:gd name="connsiteY35" fmla="*/ 5385011 h 5693899"/>
              <a:gd name="connsiteX36" fmla="*/ 0 w 12190413"/>
              <a:gd name="connsiteY36" fmla="*/ 0 h 5693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12190413" h="5693899">
                <a:moveTo>
                  <a:pt x="0" y="0"/>
                </a:moveTo>
                <a:lnTo>
                  <a:pt x="12190413" y="0"/>
                </a:lnTo>
                <a:cubicBezTo>
                  <a:pt x="12190413" y="1804591"/>
                  <a:pt x="12190412" y="3609182"/>
                  <a:pt x="12190412" y="5413773"/>
                </a:cubicBezTo>
                <a:lnTo>
                  <a:pt x="12188206" y="5413259"/>
                </a:lnTo>
                <a:lnTo>
                  <a:pt x="12188206" y="5406635"/>
                </a:lnTo>
                <a:lnTo>
                  <a:pt x="12032390" y="5376956"/>
                </a:lnTo>
                <a:lnTo>
                  <a:pt x="11853287" y="5335228"/>
                </a:lnTo>
                <a:cubicBezTo>
                  <a:pt x="11151505" y="5193032"/>
                  <a:pt x="10345755" y="5111967"/>
                  <a:pt x="9474399" y="5102230"/>
                </a:cubicBezTo>
                <a:lnTo>
                  <a:pt x="9363219" y="5103271"/>
                </a:lnTo>
                <a:lnTo>
                  <a:pt x="9336724" y="5102803"/>
                </a:lnTo>
                <a:lnTo>
                  <a:pt x="9141154" y="5102803"/>
                </a:lnTo>
                <a:lnTo>
                  <a:pt x="8943837" y="5102802"/>
                </a:lnTo>
                <a:lnTo>
                  <a:pt x="8746521" y="5106295"/>
                </a:lnTo>
                <a:lnTo>
                  <a:pt x="8552697" y="5111534"/>
                </a:lnTo>
                <a:lnTo>
                  <a:pt x="8357128" y="5122010"/>
                </a:lnTo>
                <a:lnTo>
                  <a:pt x="8163303" y="5134233"/>
                </a:lnTo>
                <a:lnTo>
                  <a:pt x="7972972" y="5146457"/>
                </a:lnTo>
                <a:lnTo>
                  <a:pt x="7779149" y="5162171"/>
                </a:lnTo>
                <a:lnTo>
                  <a:pt x="7587072" y="5181379"/>
                </a:lnTo>
                <a:lnTo>
                  <a:pt x="7396738" y="5204080"/>
                </a:lnTo>
                <a:lnTo>
                  <a:pt x="7209903" y="5226779"/>
                </a:lnTo>
                <a:lnTo>
                  <a:pt x="7019571" y="5251226"/>
                </a:lnTo>
                <a:lnTo>
                  <a:pt x="6853019" y="5277687"/>
                </a:lnTo>
                <a:lnTo>
                  <a:pt x="6718666" y="5294934"/>
                </a:lnTo>
                <a:lnTo>
                  <a:pt x="6545441" y="5324130"/>
                </a:lnTo>
                <a:lnTo>
                  <a:pt x="6460798" y="5336788"/>
                </a:lnTo>
                <a:lnTo>
                  <a:pt x="6387367" y="5350775"/>
                </a:lnTo>
                <a:lnTo>
                  <a:pt x="6041160" y="5409129"/>
                </a:lnTo>
                <a:lnTo>
                  <a:pt x="5887321" y="5441440"/>
                </a:lnTo>
                <a:lnTo>
                  <a:pt x="5857713" y="5446426"/>
                </a:lnTo>
                <a:cubicBezTo>
                  <a:pt x="4271557" y="5694949"/>
                  <a:pt x="2741498" y="5756679"/>
                  <a:pt x="1438219" y="5629855"/>
                </a:cubicBezTo>
                <a:lnTo>
                  <a:pt x="1112913" y="5593328"/>
                </a:lnTo>
                <a:lnTo>
                  <a:pt x="1063194" y="5586942"/>
                </a:lnTo>
                <a:lnTo>
                  <a:pt x="750855" y="5541968"/>
                </a:lnTo>
                <a:cubicBezTo>
                  <a:pt x="585150" y="5515316"/>
                  <a:pt x="424237" y="5485152"/>
                  <a:pt x="268553" y="5451471"/>
                </a:cubicBezTo>
                <a:lnTo>
                  <a:pt x="1" y="5385011"/>
                </a:lnTo>
                <a:cubicBezTo>
                  <a:pt x="2867" y="5388451"/>
                  <a:pt x="3441" y="1359"/>
                  <a:pt x="0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tIns="792000" anchor="ctr">
            <a:noAutofit/>
          </a:bodyPr>
          <a:lstStyle>
            <a:lvl1pPr marL="0" indent="0" algn="ctr">
              <a:buNone/>
              <a:defRPr cap="none" baseline="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278" y="0"/>
            <a:ext cx="6092825" cy="3400426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50436" y="1989744"/>
            <a:ext cx="5112000" cy="108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2000" cap="none" baseline="0">
                <a:solidFill>
                  <a:schemeClr val="bg1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Hier steht ein Untertitel 20pt</a:t>
            </a:r>
            <a:br>
              <a:rPr lang="de-DE" dirty="0"/>
            </a:br>
            <a:r>
              <a:rPr lang="de-DE" dirty="0"/>
              <a:t>Bild ändern wie folgt: „Grafik einfügen“</a:t>
            </a:r>
          </a:p>
        </p:txBody>
      </p:sp>
      <p:sp>
        <p:nvSpPr>
          <p:cNvPr id="8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50436" y="477584"/>
            <a:ext cx="5112000" cy="1440000"/>
          </a:xfrm>
        </p:spPr>
        <p:txBody>
          <a:bodyPr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Hier steht ein sehr lange Headline 32pt</a:t>
            </a:r>
          </a:p>
        </p:txBody>
      </p:sp>
    </p:spTree>
    <p:extLst>
      <p:ext uri="{BB962C8B-B14F-4D97-AF65-F5344CB8AC3E}">
        <p14:creationId xmlns:p14="http://schemas.microsoft.com/office/powerpoint/2010/main" val="7919510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552876" y="405374"/>
            <a:ext cx="11087100" cy="4320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</a:lstStyle>
          <a:p>
            <a:r>
              <a:rPr lang="de-DE" dirty="0"/>
              <a:t>Inhalt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latin typeface="Helvetica Neue" charset="0"/>
                <a:ea typeface="Helvetica Neue" charset="0"/>
                <a:cs typeface="Helvetica Neue" charset="0"/>
              </a:defRPr>
            </a:lvl1pPr>
          </a:lstStyle>
          <a:p>
            <a:fld id="{4B7195B3-EDAE-44B9-AF78-6758C91E0D3A}" type="datetime1">
              <a:rPr lang="de-DE" smtClean="0"/>
              <a:pPr/>
              <a:t>22.05.19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latin typeface="Helvetica Neue" charset="0"/>
                <a:ea typeface="Helvetica Neue" charset="0"/>
                <a:cs typeface="Helvetica Neue" charset="0"/>
              </a:defRPr>
            </a:lvl1pPr>
          </a:lstStyle>
          <a:p>
            <a:r>
              <a:rPr lang="de-DE" dirty="0" smtClean="0"/>
              <a:t>[</a:t>
            </a:r>
            <a:r>
              <a:rPr lang="de-DE" dirty="0" err="1" smtClean="0"/>
              <a:t>Veranstaltungtitel</a:t>
            </a:r>
            <a:r>
              <a:rPr lang="de-DE" dirty="0" smtClean="0"/>
              <a:t>] [Referent/Autor]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latin typeface="Helvetica Neue" charset="0"/>
                <a:ea typeface="Helvetica Neue" charset="0"/>
                <a:cs typeface="Helvetica Neue" charset="0"/>
              </a:defRPr>
            </a:lvl1pPr>
          </a:lstStyle>
          <a:p>
            <a:fld id="{4915BD61-E5D5-4E4F-ADA0-6F3448AB9FA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3"/>
          </p:nvPr>
        </p:nvSpPr>
        <p:spPr bwMode="gray">
          <a:xfrm>
            <a:off x="550800" y="1701799"/>
            <a:ext cx="11088000" cy="4248000"/>
          </a:xfrm>
        </p:spPr>
        <p:txBody>
          <a:bodyPr/>
          <a:lstStyle>
            <a:lvl1pPr>
              <a:defRPr>
                <a:latin typeface="Helvetica Neue" charset="0"/>
                <a:ea typeface="Helvetica Neue" charset="0"/>
                <a:cs typeface="Helvetica Neue" charset="0"/>
              </a:defRPr>
            </a:lvl1pPr>
            <a:lvl2pPr>
              <a:defRPr>
                <a:latin typeface="Helvetica Neue" charset="0"/>
                <a:ea typeface="Helvetica Neue" charset="0"/>
                <a:cs typeface="Helvetica Neue" charset="0"/>
              </a:defRPr>
            </a:lvl2pPr>
            <a:lvl3pPr>
              <a:defRPr>
                <a:latin typeface="Helvetica Neue" charset="0"/>
                <a:ea typeface="Helvetica Neue" charset="0"/>
                <a:cs typeface="Helvetica Neue" charset="0"/>
              </a:defRPr>
            </a:lvl3pPr>
            <a:lvl4pPr>
              <a:defRPr>
                <a:latin typeface="Helvetica Neue" charset="0"/>
                <a:ea typeface="Helvetica Neue" charset="0"/>
                <a:cs typeface="Helvetica Neue" charset="0"/>
              </a:defRPr>
            </a:lvl4pPr>
            <a:lvl5pPr>
              <a:defRPr>
                <a:latin typeface="Helvetica Neue" charset="0"/>
                <a:ea typeface="Helvetica Neue" charset="0"/>
                <a:cs typeface="Helvetica Neue" charset="0"/>
              </a:defRPr>
            </a:lvl5pPr>
            <a:lvl6pPr>
              <a:defRPr>
                <a:latin typeface="Helvetica Neue" charset="0"/>
                <a:ea typeface="Helvetica Neue" charset="0"/>
                <a:cs typeface="Helvetica Neue" charset="0"/>
              </a:defRPr>
            </a:lvl6pPr>
            <a:lvl7pPr>
              <a:defRPr/>
            </a:lvl7pPr>
            <a:lvl8pPr marL="539750" indent="-180975">
              <a:buFont typeface="Symbol" panose="05050102010706020507" pitchFamily="18" charset="2"/>
              <a:buChar char="-"/>
              <a:defRPr/>
            </a:lvl8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6</a:t>
            </a:r>
          </a:p>
          <a:p>
            <a:pPr lvl="4"/>
            <a:r>
              <a:rPr lang="de-DE" dirty="0"/>
              <a:t>7</a:t>
            </a:r>
          </a:p>
          <a:p>
            <a:pPr lvl="4"/>
            <a:r>
              <a:rPr lang="de-DE" dirty="0"/>
              <a:t>8</a:t>
            </a:r>
          </a:p>
          <a:p>
            <a:pPr lvl="4"/>
            <a:r>
              <a:rPr lang="de-DE" dirty="0"/>
              <a:t>9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50800" y="982286"/>
            <a:ext cx="11088000" cy="503238"/>
          </a:xfrm>
        </p:spPr>
        <p:txBody>
          <a:bodyPr/>
          <a:lstStyle>
            <a:lvl1pPr marL="0" indent="0">
              <a:buNone/>
              <a:defRPr sz="1800" cap="none" baseline="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  <a:lvl2pPr marL="0" indent="0">
              <a:buNone/>
              <a:defRPr sz="1800">
                <a:solidFill>
                  <a:schemeClr val="tx2"/>
                </a:solidFill>
              </a:defRPr>
            </a:lvl2pPr>
            <a:lvl3pPr marL="0" indent="0">
              <a:buNone/>
              <a:defRPr sz="1800">
                <a:solidFill>
                  <a:schemeClr val="tx2"/>
                </a:solidFill>
              </a:defRPr>
            </a:lvl3pPr>
            <a:lvl4pPr marL="0" indent="0">
              <a:buNone/>
              <a:defRPr sz="1800">
                <a:solidFill>
                  <a:schemeClr val="tx2"/>
                </a:solidFill>
              </a:defRPr>
            </a:lvl4pPr>
            <a:lvl5pPr marL="0" indent="0">
              <a:buNone/>
              <a:defRPr sz="1800">
                <a:solidFill>
                  <a:schemeClr val="tx2"/>
                </a:solidFill>
              </a:defRPr>
            </a:lvl5pPr>
            <a:lvl6pPr marL="0" indent="0">
              <a:buNone/>
              <a:defRPr sz="1800">
                <a:solidFill>
                  <a:schemeClr val="tx2"/>
                </a:solidFill>
              </a:defRPr>
            </a:lvl6pPr>
            <a:lvl7pPr marL="0" indent="0">
              <a:buNone/>
              <a:defRPr sz="1800">
                <a:solidFill>
                  <a:schemeClr val="tx2"/>
                </a:solidFill>
              </a:defRPr>
            </a:lvl7pPr>
            <a:lvl8pPr marL="0" indent="0">
              <a:buNone/>
              <a:defRPr sz="1800">
                <a:solidFill>
                  <a:schemeClr val="tx2"/>
                </a:solidFill>
              </a:defRPr>
            </a:lvl8pPr>
            <a:lvl9pPr marL="0" indent="0">
              <a:buNone/>
              <a:defRPr sz="18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Subheadline</a:t>
            </a:r>
          </a:p>
        </p:txBody>
      </p:sp>
      <p:sp>
        <p:nvSpPr>
          <p:cNvPr id="11" name="Textfeld 10"/>
          <p:cNvSpPr txBox="1"/>
          <p:nvPr userDrawn="1"/>
        </p:nvSpPr>
        <p:spPr>
          <a:xfrm>
            <a:off x="11135906" y="6238184"/>
            <a:ext cx="976934" cy="523220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algn="r">
              <a:buClr>
                <a:schemeClr val="tx2"/>
              </a:buClr>
            </a:pPr>
            <a:r>
              <a:rPr lang="de-DE" sz="1400" b="1" dirty="0" smtClean="0">
                <a:latin typeface="Helvetica Neue" charset="0"/>
                <a:ea typeface="Helvetica Neue" charset="0"/>
                <a:cs typeface="Helvetica Neue" charset="0"/>
              </a:rPr>
              <a:t>GROON</a:t>
            </a:r>
          </a:p>
          <a:p>
            <a:pPr algn="r">
              <a:buClr>
                <a:schemeClr val="tx2"/>
              </a:buClr>
            </a:pPr>
            <a:r>
              <a:rPr lang="de-DE" sz="1400" b="1" dirty="0" smtClean="0">
                <a:latin typeface="Helvetica Neue" charset="0"/>
                <a:ea typeface="Helvetica Neue" charset="0"/>
                <a:cs typeface="Helvetica Neue" charset="0"/>
              </a:rPr>
              <a:t>VANDORP</a:t>
            </a:r>
            <a:endParaRPr lang="de-DE" sz="1400" b="1" dirty="0" smtClean="0">
              <a:latin typeface="Helvetica Neue" charset="0"/>
              <a:ea typeface="Helvetica Neue" charset="0"/>
              <a:cs typeface="Helvetica Neu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9469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spaltig nur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552876" y="405374"/>
            <a:ext cx="11087100" cy="432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e-DE" dirty="0"/>
              <a:t>1-spaltig, nur Foto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39A1F29-EC97-401C-B5EC-39CDFB7FB770}" type="datetime1">
              <a:rPr lang="de-DE" smtClean="0"/>
              <a:t>22.05.19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[Veranstaltungtitel] [Referent/Autor]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4915BD61-E5D5-4E4F-ADA0-6F3448AB9FA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 bwMode="gray">
          <a:xfrm>
            <a:off x="550436" y="1270144"/>
            <a:ext cx="11089540" cy="4680000"/>
          </a:xfrm>
          <a:pattFill prst="ltUpDiag">
            <a:fgClr>
              <a:schemeClr val="tx2"/>
            </a:fgClr>
            <a:bgClr>
              <a:schemeClr val="bg1"/>
            </a:bgClr>
          </a:pattFill>
        </p:spPr>
        <p:txBody>
          <a:bodyPr tIns="0" bIns="468000" anchor="ctr" anchorCtr="1"/>
          <a:lstStyle>
            <a:lvl1pPr marL="0" indent="0" algn="ctr">
              <a:buNone/>
              <a:defRPr sz="1200" cap="none" baseline="0">
                <a:solidFill>
                  <a:schemeClr val="tx1"/>
                </a:solidFill>
              </a:defRPr>
            </a:lvl1pPr>
            <a:lvl2pPr marL="0" indent="0" algn="ctr">
              <a:buNone/>
              <a:defRPr sz="1200"/>
            </a:lvl2pPr>
            <a:lvl3pPr marL="0" indent="0" algn="ctr">
              <a:buNone/>
              <a:defRPr sz="1200"/>
            </a:lvl3pPr>
            <a:lvl4pPr marL="0" indent="0" algn="ctr">
              <a:buNone/>
              <a:defRPr sz="1200"/>
            </a:lvl4pPr>
            <a:lvl5pPr marL="0" indent="0" algn="ctr">
              <a:buNone/>
              <a:defRPr sz="1200"/>
            </a:lvl5pPr>
          </a:lstStyle>
          <a:p>
            <a:pPr lvl="0"/>
            <a:r>
              <a:rPr lang="de-DE" dirty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9819165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80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552876" y="405374"/>
            <a:ext cx="110871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2-spaltig, Text/Foto/Diagramm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2E44CF3-5706-462D-8940-847CE7BE3912}" type="datetime1">
              <a:rPr lang="de-DE" smtClean="0"/>
              <a:t>22.05.19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[Veranstaltungtitel] [Referent/Autor]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4915BD61-E5D5-4E4F-ADA0-6F3448AB9FA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4"/>
          </p:nvPr>
        </p:nvSpPr>
        <p:spPr bwMode="gray">
          <a:xfrm>
            <a:off x="6239976" y="1701799"/>
            <a:ext cx="5400000" cy="4248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6</a:t>
            </a:r>
          </a:p>
          <a:p>
            <a:pPr lvl="4"/>
            <a:r>
              <a:rPr lang="de-DE" dirty="0"/>
              <a:t>7</a:t>
            </a:r>
          </a:p>
          <a:p>
            <a:pPr lvl="4"/>
            <a:r>
              <a:rPr lang="de-DE" dirty="0"/>
              <a:t>8</a:t>
            </a:r>
          </a:p>
          <a:p>
            <a:pPr lvl="4"/>
            <a:r>
              <a:rPr lang="de-DE" dirty="0"/>
              <a:t>9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sz="quarter" idx="15"/>
          </p:nvPr>
        </p:nvSpPr>
        <p:spPr bwMode="gray">
          <a:xfrm>
            <a:off x="550436" y="1701554"/>
            <a:ext cx="5400000" cy="4248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6</a:t>
            </a:r>
          </a:p>
          <a:p>
            <a:pPr lvl="4"/>
            <a:r>
              <a:rPr lang="de-DE" dirty="0"/>
              <a:t>7</a:t>
            </a:r>
          </a:p>
          <a:p>
            <a:pPr lvl="4"/>
            <a:r>
              <a:rPr lang="de-DE" dirty="0"/>
              <a:t>8</a:t>
            </a:r>
          </a:p>
          <a:p>
            <a:pPr lvl="4"/>
            <a:r>
              <a:rPr lang="de-DE" dirty="0"/>
              <a:t>9</a:t>
            </a:r>
          </a:p>
        </p:txBody>
      </p:sp>
      <p:sp>
        <p:nvSpPr>
          <p:cNvPr id="11" name="Textplatzhalt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0863" y="982286"/>
            <a:ext cx="11088687" cy="503238"/>
          </a:xfrm>
        </p:spPr>
        <p:txBody>
          <a:bodyPr/>
          <a:lstStyle>
            <a:lvl1pPr marL="0" indent="0">
              <a:buNone/>
              <a:defRPr sz="1800" cap="none" baseline="0">
                <a:solidFill>
                  <a:schemeClr val="tx2"/>
                </a:solidFill>
              </a:defRPr>
            </a:lvl1pPr>
            <a:lvl2pPr marL="0" indent="0">
              <a:buNone/>
              <a:defRPr sz="1800">
                <a:solidFill>
                  <a:schemeClr val="tx2"/>
                </a:solidFill>
              </a:defRPr>
            </a:lvl2pPr>
            <a:lvl3pPr marL="0" indent="0">
              <a:buNone/>
              <a:defRPr sz="1800">
                <a:solidFill>
                  <a:schemeClr val="tx2"/>
                </a:solidFill>
              </a:defRPr>
            </a:lvl3pPr>
            <a:lvl4pPr marL="0" indent="0">
              <a:buNone/>
              <a:defRPr sz="1800">
                <a:solidFill>
                  <a:schemeClr val="tx2"/>
                </a:solidFill>
              </a:defRPr>
            </a:lvl4pPr>
            <a:lvl5pPr marL="0" indent="0">
              <a:buNone/>
              <a:defRPr sz="1800">
                <a:solidFill>
                  <a:schemeClr val="tx2"/>
                </a:solidFill>
              </a:defRPr>
            </a:lvl5pPr>
            <a:lvl6pPr marL="0" indent="0">
              <a:buNone/>
              <a:defRPr sz="1800">
                <a:solidFill>
                  <a:schemeClr val="tx2"/>
                </a:solidFill>
              </a:defRPr>
            </a:lvl6pPr>
            <a:lvl7pPr marL="0" indent="0">
              <a:buNone/>
              <a:defRPr sz="1800">
                <a:solidFill>
                  <a:schemeClr val="tx2"/>
                </a:solidFill>
              </a:defRPr>
            </a:lvl7pPr>
            <a:lvl8pPr marL="0" indent="0">
              <a:buNone/>
              <a:defRPr sz="1800">
                <a:solidFill>
                  <a:schemeClr val="tx2"/>
                </a:solidFill>
              </a:defRPr>
            </a:lvl8pPr>
            <a:lvl9pPr marL="0" indent="0">
              <a:buNone/>
              <a:defRPr sz="18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Subheadline</a:t>
            </a:r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1146069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552876" y="405374"/>
            <a:ext cx="110871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3-spaltig, Text/Foto/Diagramm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48FE064-B8B9-4CB8-8318-A262CA705F1D}" type="datetime1">
              <a:rPr lang="de-DE" smtClean="0"/>
              <a:t>22.05.19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[Veranstaltungtitel] [Referent/Autor]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4915BD61-E5D5-4E4F-ADA0-6F3448AB9FA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4"/>
          </p:nvPr>
        </p:nvSpPr>
        <p:spPr bwMode="gray">
          <a:xfrm>
            <a:off x="550436" y="1701554"/>
            <a:ext cx="3456000" cy="4248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6</a:t>
            </a:r>
          </a:p>
          <a:p>
            <a:pPr lvl="4"/>
            <a:r>
              <a:rPr lang="de-DE" dirty="0"/>
              <a:t>7</a:t>
            </a:r>
          </a:p>
          <a:p>
            <a:pPr lvl="4"/>
            <a:r>
              <a:rPr lang="de-DE" dirty="0"/>
              <a:t>8</a:t>
            </a:r>
          </a:p>
          <a:p>
            <a:pPr lvl="4"/>
            <a:r>
              <a:rPr lang="de-DE" dirty="0"/>
              <a:t>9</a:t>
            </a:r>
          </a:p>
        </p:txBody>
      </p:sp>
      <p:sp>
        <p:nvSpPr>
          <p:cNvPr id="15" name="Inhaltsplatzhalter 2"/>
          <p:cNvSpPr>
            <a:spLocks noGrp="1"/>
          </p:cNvSpPr>
          <p:nvPr>
            <p:ph sz="quarter" idx="17"/>
          </p:nvPr>
        </p:nvSpPr>
        <p:spPr bwMode="gray">
          <a:xfrm>
            <a:off x="4366966" y="1701554"/>
            <a:ext cx="3456000" cy="4248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6</a:t>
            </a:r>
          </a:p>
          <a:p>
            <a:pPr lvl="4"/>
            <a:r>
              <a:rPr lang="de-DE" dirty="0"/>
              <a:t>7</a:t>
            </a:r>
          </a:p>
          <a:p>
            <a:pPr lvl="4"/>
            <a:r>
              <a:rPr lang="de-DE" dirty="0"/>
              <a:t>8</a:t>
            </a:r>
          </a:p>
          <a:p>
            <a:pPr lvl="4"/>
            <a:r>
              <a:rPr lang="de-DE" dirty="0"/>
              <a:t>9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sz="quarter" idx="18"/>
          </p:nvPr>
        </p:nvSpPr>
        <p:spPr bwMode="gray">
          <a:xfrm>
            <a:off x="8183976" y="1701554"/>
            <a:ext cx="3456000" cy="4248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6</a:t>
            </a:r>
          </a:p>
          <a:p>
            <a:pPr lvl="4"/>
            <a:r>
              <a:rPr lang="de-DE" dirty="0"/>
              <a:t>7</a:t>
            </a:r>
          </a:p>
          <a:p>
            <a:pPr lvl="4"/>
            <a:r>
              <a:rPr lang="de-DE" dirty="0"/>
              <a:t>8</a:t>
            </a:r>
          </a:p>
          <a:p>
            <a:pPr lvl="4"/>
            <a:r>
              <a:rPr lang="de-DE" dirty="0"/>
              <a:t>9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0863" y="982286"/>
            <a:ext cx="11088687" cy="503238"/>
          </a:xfrm>
        </p:spPr>
        <p:txBody>
          <a:bodyPr/>
          <a:lstStyle>
            <a:lvl1pPr marL="0" indent="0">
              <a:buNone/>
              <a:defRPr sz="1800" cap="none" baseline="0">
                <a:solidFill>
                  <a:schemeClr val="tx2"/>
                </a:solidFill>
              </a:defRPr>
            </a:lvl1pPr>
            <a:lvl2pPr marL="0" indent="0">
              <a:buNone/>
              <a:defRPr sz="1800">
                <a:solidFill>
                  <a:schemeClr val="tx2"/>
                </a:solidFill>
              </a:defRPr>
            </a:lvl2pPr>
            <a:lvl3pPr marL="0" indent="0">
              <a:buNone/>
              <a:defRPr sz="1800">
                <a:solidFill>
                  <a:schemeClr val="tx2"/>
                </a:solidFill>
              </a:defRPr>
            </a:lvl3pPr>
            <a:lvl4pPr marL="0" indent="0">
              <a:buNone/>
              <a:defRPr sz="1800">
                <a:solidFill>
                  <a:schemeClr val="tx2"/>
                </a:solidFill>
              </a:defRPr>
            </a:lvl4pPr>
            <a:lvl5pPr marL="0" indent="0">
              <a:buNone/>
              <a:defRPr sz="1800">
                <a:solidFill>
                  <a:schemeClr val="tx2"/>
                </a:solidFill>
              </a:defRPr>
            </a:lvl5pPr>
            <a:lvl6pPr marL="0" indent="0">
              <a:buNone/>
              <a:defRPr sz="1800">
                <a:solidFill>
                  <a:schemeClr val="tx2"/>
                </a:solidFill>
              </a:defRPr>
            </a:lvl6pPr>
            <a:lvl7pPr marL="0" indent="0">
              <a:buNone/>
              <a:defRPr sz="1800">
                <a:solidFill>
                  <a:schemeClr val="tx2"/>
                </a:solidFill>
              </a:defRPr>
            </a:lvl7pPr>
            <a:lvl8pPr marL="0" indent="0">
              <a:buNone/>
              <a:defRPr sz="1800">
                <a:solidFill>
                  <a:schemeClr val="tx2"/>
                </a:solidFill>
              </a:defRPr>
            </a:lvl8pPr>
            <a:lvl9pPr marL="0" indent="0">
              <a:buNone/>
              <a:defRPr sz="18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39044836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552876" y="405374"/>
            <a:ext cx="110871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4-spaltig, Text/Foto/Diagramm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2AB7B18-315D-41A7-ACF1-5AAB316781AF}" type="datetime1">
              <a:rPr lang="de-DE" smtClean="0"/>
              <a:t>22.05.19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[Veranstaltungtitel] [Referent/Autor]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4915BD61-E5D5-4E4F-ADA0-6F3448AB9FA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4"/>
          </p:nvPr>
        </p:nvSpPr>
        <p:spPr bwMode="gray">
          <a:xfrm>
            <a:off x="550436" y="1701554"/>
            <a:ext cx="2448000" cy="4248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6</a:t>
            </a:r>
          </a:p>
          <a:p>
            <a:pPr lvl="4"/>
            <a:r>
              <a:rPr lang="de-DE" dirty="0"/>
              <a:t>7</a:t>
            </a:r>
          </a:p>
          <a:p>
            <a:pPr lvl="4"/>
            <a:r>
              <a:rPr lang="de-DE" dirty="0"/>
              <a:t>8</a:t>
            </a:r>
          </a:p>
          <a:p>
            <a:pPr lvl="4"/>
            <a:r>
              <a:rPr lang="de-DE" dirty="0"/>
              <a:t>9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sz="quarter" idx="18"/>
          </p:nvPr>
        </p:nvSpPr>
        <p:spPr bwMode="gray">
          <a:xfrm>
            <a:off x="3430836" y="1701554"/>
            <a:ext cx="2448000" cy="4248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6</a:t>
            </a:r>
          </a:p>
          <a:p>
            <a:pPr lvl="4"/>
            <a:r>
              <a:rPr lang="de-DE" dirty="0"/>
              <a:t>7</a:t>
            </a:r>
          </a:p>
          <a:p>
            <a:pPr lvl="4"/>
            <a:r>
              <a:rPr lang="de-DE" dirty="0"/>
              <a:t>8</a:t>
            </a:r>
          </a:p>
          <a:p>
            <a:pPr lvl="4"/>
            <a:r>
              <a:rPr lang="de-DE" dirty="0"/>
              <a:t>9</a:t>
            </a:r>
          </a:p>
        </p:txBody>
      </p:sp>
      <p:sp>
        <p:nvSpPr>
          <p:cNvPr id="19" name="Inhaltsplatzhalter 2"/>
          <p:cNvSpPr>
            <a:spLocks noGrp="1"/>
          </p:cNvSpPr>
          <p:nvPr>
            <p:ph sz="quarter" idx="19"/>
          </p:nvPr>
        </p:nvSpPr>
        <p:spPr bwMode="gray">
          <a:xfrm>
            <a:off x="6311470" y="1701554"/>
            <a:ext cx="2448000" cy="4248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6</a:t>
            </a:r>
          </a:p>
          <a:p>
            <a:pPr lvl="4"/>
            <a:r>
              <a:rPr lang="de-DE" dirty="0"/>
              <a:t>7</a:t>
            </a:r>
          </a:p>
          <a:p>
            <a:pPr lvl="4"/>
            <a:r>
              <a:rPr lang="de-DE" dirty="0"/>
              <a:t>8</a:t>
            </a:r>
          </a:p>
          <a:p>
            <a:pPr lvl="4"/>
            <a:r>
              <a:rPr lang="de-DE" dirty="0"/>
              <a:t>9</a:t>
            </a:r>
          </a:p>
        </p:txBody>
      </p:sp>
      <p:sp>
        <p:nvSpPr>
          <p:cNvPr id="20" name="Inhaltsplatzhalter 2"/>
          <p:cNvSpPr>
            <a:spLocks noGrp="1"/>
          </p:cNvSpPr>
          <p:nvPr>
            <p:ph sz="quarter" idx="20"/>
          </p:nvPr>
        </p:nvSpPr>
        <p:spPr bwMode="gray">
          <a:xfrm>
            <a:off x="9191986" y="1701554"/>
            <a:ext cx="2448000" cy="4248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6</a:t>
            </a:r>
          </a:p>
          <a:p>
            <a:pPr lvl="4"/>
            <a:r>
              <a:rPr lang="de-DE" dirty="0"/>
              <a:t>7</a:t>
            </a:r>
          </a:p>
          <a:p>
            <a:pPr lvl="4"/>
            <a:r>
              <a:rPr lang="de-DE" dirty="0"/>
              <a:t>8</a:t>
            </a:r>
          </a:p>
          <a:p>
            <a:pPr lvl="4"/>
            <a:r>
              <a:rPr lang="de-DE" dirty="0"/>
              <a:t>9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0863" y="982286"/>
            <a:ext cx="11088687" cy="503238"/>
          </a:xfrm>
        </p:spPr>
        <p:txBody>
          <a:bodyPr/>
          <a:lstStyle>
            <a:lvl1pPr marL="0" indent="0">
              <a:buNone/>
              <a:defRPr sz="1800" cap="none" baseline="0">
                <a:solidFill>
                  <a:schemeClr val="tx2"/>
                </a:solidFill>
              </a:defRPr>
            </a:lvl1pPr>
            <a:lvl2pPr marL="0" indent="0">
              <a:buNone/>
              <a:defRPr sz="1800">
                <a:solidFill>
                  <a:schemeClr val="tx2"/>
                </a:solidFill>
              </a:defRPr>
            </a:lvl2pPr>
            <a:lvl3pPr marL="0" indent="0">
              <a:buNone/>
              <a:defRPr sz="1800">
                <a:solidFill>
                  <a:schemeClr val="tx2"/>
                </a:solidFill>
              </a:defRPr>
            </a:lvl3pPr>
            <a:lvl4pPr marL="0" indent="0">
              <a:buNone/>
              <a:defRPr sz="1800">
                <a:solidFill>
                  <a:schemeClr val="tx2"/>
                </a:solidFill>
              </a:defRPr>
            </a:lvl4pPr>
            <a:lvl5pPr marL="0" indent="0">
              <a:buNone/>
              <a:defRPr sz="1800">
                <a:solidFill>
                  <a:schemeClr val="tx2"/>
                </a:solidFill>
              </a:defRPr>
            </a:lvl5pPr>
            <a:lvl6pPr marL="0" indent="0">
              <a:buNone/>
              <a:defRPr sz="1800">
                <a:solidFill>
                  <a:schemeClr val="tx2"/>
                </a:solidFill>
              </a:defRPr>
            </a:lvl6pPr>
            <a:lvl7pPr marL="0" indent="0">
              <a:buNone/>
              <a:defRPr sz="1800">
                <a:solidFill>
                  <a:schemeClr val="tx2"/>
                </a:solidFill>
              </a:defRPr>
            </a:lvl7pPr>
            <a:lvl8pPr marL="0" indent="0">
              <a:buNone/>
              <a:defRPr sz="1800">
                <a:solidFill>
                  <a:schemeClr val="tx2"/>
                </a:solidFill>
              </a:defRPr>
            </a:lvl8pPr>
            <a:lvl9pPr marL="0" indent="0">
              <a:buNone/>
              <a:defRPr sz="18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18377586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spaltig, 2 Zeil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552876" y="405374"/>
            <a:ext cx="110871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4-spaltig, Text/Foto/Diagramm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003ED55-375C-4D4F-8557-CCEDE00AFCD2}" type="datetime1">
              <a:rPr lang="de-DE" smtClean="0"/>
              <a:t>22.05.19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[Veranstaltungtitel] [Referent/Autor]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4915BD61-E5D5-4E4F-ADA0-6F3448AB9FA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4"/>
          </p:nvPr>
        </p:nvSpPr>
        <p:spPr bwMode="gray">
          <a:xfrm>
            <a:off x="550436" y="1701554"/>
            <a:ext cx="2448000" cy="201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 baseline="0"/>
            </a:lvl5pPr>
            <a:lvl6pPr marL="539750" indent="-180975">
              <a:buFont typeface="Symbol" panose="05050102010706020507" pitchFamily="18" charset="2"/>
              <a:buChar char="-"/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sz="quarter" idx="21"/>
          </p:nvPr>
        </p:nvSpPr>
        <p:spPr bwMode="gray">
          <a:xfrm>
            <a:off x="550436" y="3934124"/>
            <a:ext cx="2448000" cy="201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1" name="Inhaltsplatzhalter 2"/>
          <p:cNvSpPr>
            <a:spLocks noGrp="1"/>
          </p:cNvSpPr>
          <p:nvPr>
            <p:ph sz="quarter" idx="22"/>
          </p:nvPr>
        </p:nvSpPr>
        <p:spPr bwMode="gray">
          <a:xfrm>
            <a:off x="3430836" y="1701554"/>
            <a:ext cx="2448000" cy="201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Inhaltsplatzhalter 2"/>
          <p:cNvSpPr>
            <a:spLocks noGrp="1"/>
          </p:cNvSpPr>
          <p:nvPr>
            <p:ph sz="quarter" idx="23"/>
          </p:nvPr>
        </p:nvSpPr>
        <p:spPr bwMode="gray">
          <a:xfrm>
            <a:off x="3430836" y="3934124"/>
            <a:ext cx="2448000" cy="201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sz="quarter" idx="24"/>
          </p:nvPr>
        </p:nvSpPr>
        <p:spPr bwMode="gray">
          <a:xfrm>
            <a:off x="9191636" y="1701554"/>
            <a:ext cx="2448000" cy="201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4" name="Inhaltsplatzhalter 2"/>
          <p:cNvSpPr>
            <a:spLocks noGrp="1"/>
          </p:cNvSpPr>
          <p:nvPr>
            <p:ph sz="quarter" idx="25"/>
          </p:nvPr>
        </p:nvSpPr>
        <p:spPr bwMode="gray">
          <a:xfrm>
            <a:off x="9191636" y="3934124"/>
            <a:ext cx="2448000" cy="201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Inhaltsplatzhalter 2"/>
          <p:cNvSpPr>
            <a:spLocks noGrp="1"/>
          </p:cNvSpPr>
          <p:nvPr>
            <p:ph sz="quarter" idx="26"/>
          </p:nvPr>
        </p:nvSpPr>
        <p:spPr bwMode="gray">
          <a:xfrm>
            <a:off x="6311236" y="1701554"/>
            <a:ext cx="2448000" cy="201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sz="quarter" idx="27"/>
          </p:nvPr>
        </p:nvSpPr>
        <p:spPr bwMode="gray">
          <a:xfrm>
            <a:off x="6311236" y="3934124"/>
            <a:ext cx="2448000" cy="201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0863" y="982286"/>
            <a:ext cx="11088687" cy="503238"/>
          </a:xfrm>
        </p:spPr>
        <p:txBody>
          <a:bodyPr/>
          <a:lstStyle>
            <a:lvl1pPr marL="0" indent="0">
              <a:buNone/>
              <a:defRPr sz="1800" cap="none" baseline="0">
                <a:solidFill>
                  <a:schemeClr val="tx2"/>
                </a:solidFill>
              </a:defRPr>
            </a:lvl1pPr>
            <a:lvl2pPr marL="0" indent="0"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None/>
              <a:defRPr sz="1600">
                <a:solidFill>
                  <a:schemeClr val="tx2"/>
                </a:solidFill>
              </a:defRPr>
            </a:lvl3pPr>
            <a:lvl4pPr marL="0" indent="0">
              <a:buNone/>
              <a:defRPr sz="1600">
                <a:solidFill>
                  <a:schemeClr val="tx2"/>
                </a:solidFill>
              </a:defRPr>
            </a:lvl4pPr>
            <a:lvl5pPr marL="0" indent="0">
              <a:buNone/>
              <a:defRPr sz="1600">
                <a:solidFill>
                  <a:schemeClr val="tx2"/>
                </a:solidFill>
              </a:defRPr>
            </a:lvl5pPr>
            <a:lvl6pPr marL="0" indent="0">
              <a:buNone/>
              <a:defRPr sz="1600">
                <a:solidFill>
                  <a:schemeClr val="tx2"/>
                </a:solidFill>
              </a:defRPr>
            </a:lvl6pPr>
            <a:lvl7pPr marL="0" indent="0">
              <a:buNone/>
              <a:defRPr sz="1600">
                <a:solidFill>
                  <a:schemeClr val="tx2"/>
                </a:solidFill>
              </a:defRPr>
            </a:lvl7pPr>
            <a:lvl8pPr marL="0" indent="0">
              <a:buNone/>
              <a:defRPr sz="1600">
                <a:solidFill>
                  <a:schemeClr val="tx2"/>
                </a:solidFill>
              </a:defRPr>
            </a:lvl8pPr>
            <a:lvl9pPr marL="0" indent="0">
              <a:buNone/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37956695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0883C8E-ACCE-4514-8240-145D2BF9EF1B}" type="datetime1">
              <a:rPr lang="de-DE" smtClean="0"/>
              <a:t>22.05.19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[Veranstaltungtitel] [Referent/Autor]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4915BD61-E5D5-4E4F-ADA0-6F3448AB9FA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4"/>
          </p:nvPr>
        </p:nvSpPr>
        <p:spPr bwMode="gray">
          <a:xfrm>
            <a:off x="550666" y="1702144"/>
            <a:ext cx="1728000" cy="4248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 marL="360000" indent="-180000">
              <a:buFont typeface="Symbol" panose="05050102010706020507" pitchFamily="18" charset="2"/>
              <a:buChar char="-"/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6</a:t>
            </a:r>
          </a:p>
          <a:p>
            <a:pPr lvl="4"/>
            <a:r>
              <a:rPr lang="de-DE" dirty="0"/>
              <a:t>7</a:t>
            </a:r>
          </a:p>
          <a:p>
            <a:pPr lvl="4"/>
            <a:r>
              <a:rPr lang="de-DE" dirty="0"/>
              <a:t>8</a:t>
            </a:r>
          </a:p>
          <a:p>
            <a:pPr lvl="4"/>
            <a:r>
              <a:rPr lang="de-DE" dirty="0"/>
              <a:t>9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sz="quarter" idx="15"/>
          </p:nvPr>
        </p:nvSpPr>
        <p:spPr bwMode="gray">
          <a:xfrm>
            <a:off x="2422926" y="1702144"/>
            <a:ext cx="1728000" cy="4248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6</a:t>
            </a:r>
          </a:p>
          <a:p>
            <a:pPr lvl="4"/>
            <a:r>
              <a:rPr lang="de-DE" dirty="0"/>
              <a:t>7</a:t>
            </a:r>
          </a:p>
          <a:p>
            <a:pPr lvl="4"/>
            <a:r>
              <a:rPr lang="de-DE" dirty="0"/>
              <a:t>8</a:t>
            </a:r>
          </a:p>
          <a:p>
            <a:pPr lvl="4"/>
            <a:r>
              <a:rPr lang="de-DE" dirty="0"/>
              <a:t>9</a:t>
            </a:r>
          </a:p>
        </p:txBody>
      </p:sp>
      <p:sp>
        <p:nvSpPr>
          <p:cNvPr id="11" name="Inhaltsplatzhalter 2"/>
          <p:cNvSpPr>
            <a:spLocks noGrp="1"/>
          </p:cNvSpPr>
          <p:nvPr>
            <p:ph sz="quarter" idx="16"/>
          </p:nvPr>
        </p:nvSpPr>
        <p:spPr bwMode="gray">
          <a:xfrm>
            <a:off x="4295186" y="1702144"/>
            <a:ext cx="1728000" cy="4248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6</a:t>
            </a:r>
          </a:p>
          <a:p>
            <a:pPr lvl="4"/>
            <a:r>
              <a:rPr lang="de-DE" dirty="0"/>
              <a:t>7</a:t>
            </a:r>
          </a:p>
          <a:p>
            <a:pPr lvl="4"/>
            <a:r>
              <a:rPr lang="de-DE" dirty="0"/>
              <a:t>8</a:t>
            </a:r>
          </a:p>
          <a:p>
            <a:pPr lvl="4"/>
            <a:r>
              <a:rPr lang="de-DE" dirty="0"/>
              <a:t>9</a:t>
            </a:r>
          </a:p>
        </p:txBody>
      </p:sp>
      <p:sp>
        <p:nvSpPr>
          <p:cNvPr id="12" name="Inhaltsplatzhalter 2"/>
          <p:cNvSpPr>
            <a:spLocks noGrp="1"/>
          </p:cNvSpPr>
          <p:nvPr>
            <p:ph sz="quarter" idx="17"/>
          </p:nvPr>
        </p:nvSpPr>
        <p:spPr bwMode="gray">
          <a:xfrm>
            <a:off x="6167446" y="1702144"/>
            <a:ext cx="1728000" cy="4248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6</a:t>
            </a:r>
          </a:p>
          <a:p>
            <a:pPr lvl="4"/>
            <a:r>
              <a:rPr lang="de-DE" dirty="0"/>
              <a:t>7</a:t>
            </a:r>
          </a:p>
          <a:p>
            <a:pPr lvl="4"/>
            <a:r>
              <a:rPr lang="de-DE" dirty="0"/>
              <a:t>8</a:t>
            </a:r>
          </a:p>
          <a:p>
            <a:pPr lvl="4"/>
            <a:r>
              <a:rPr lang="de-DE" dirty="0"/>
              <a:t>9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sz="quarter" idx="18"/>
          </p:nvPr>
        </p:nvSpPr>
        <p:spPr bwMode="gray">
          <a:xfrm>
            <a:off x="8039706" y="1702144"/>
            <a:ext cx="1728000" cy="4248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6</a:t>
            </a:r>
          </a:p>
          <a:p>
            <a:pPr lvl="4"/>
            <a:r>
              <a:rPr lang="de-DE" dirty="0"/>
              <a:t>7</a:t>
            </a:r>
          </a:p>
          <a:p>
            <a:pPr lvl="4"/>
            <a:r>
              <a:rPr lang="de-DE" dirty="0"/>
              <a:t>8</a:t>
            </a:r>
          </a:p>
          <a:p>
            <a:pPr lvl="4"/>
            <a:r>
              <a:rPr lang="de-DE" dirty="0"/>
              <a:t>9</a:t>
            </a:r>
          </a:p>
        </p:txBody>
      </p:sp>
      <p:sp>
        <p:nvSpPr>
          <p:cNvPr id="14" name="Inhaltsplatzhalter 2"/>
          <p:cNvSpPr>
            <a:spLocks noGrp="1"/>
          </p:cNvSpPr>
          <p:nvPr>
            <p:ph sz="quarter" idx="19"/>
          </p:nvPr>
        </p:nvSpPr>
        <p:spPr bwMode="gray">
          <a:xfrm>
            <a:off x="9911966" y="1702144"/>
            <a:ext cx="1728010" cy="4248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6</a:t>
            </a:r>
          </a:p>
          <a:p>
            <a:pPr lvl="4"/>
            <a:r>
              <a:rPr lang="de-DE" dirty="0"/>
              <a:t>7</a:t>
            </a:r>
          </a:p>
          <a:p>
            <a:pPr lvl="4"/>
            <a:r>
              <a:rPr lang="de-DE" dirty="0"/>
              <a:t>8</a:t>
            </a:r>
          </a:p>
          <a:p>
            <a:pPr lvl="4"/>
            <a:r>
              <a:rPr lang="de-DE" dirty="0"/>
              <a:t>9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0863" y="982286"/>
            <a:ext cx="11088687" cy="503238"/>
          </a:xfrm>
        </p:spPr>
        <p:txBody>
          <a:bodyPr/>
          <a:lstStyle>
            <a:lvl1pPr marL="0" indent="0">
              <a:buNone/>
              <a:defRPr sz="1800" cap="none" baseline="0">
                <a:solidFill>
                  <a:schemeClr val="tx2"/>
                </a:solidFill>
              </a:defRPr>
            </a:lvl1pPr>
            <a:lvl2pPr marL="0" indent="0">
              <a:buNone/>
              <a:defRPr sz="1800">
                <a:solidFill>
                  <a:schemeClr val="tx2"/>
                </a:solidFill>
              </a:defRPr>
            </a:lvl2pPr>
            <a:lvl3pPr marL="0" indent="0">
              <a:buNone/>
              <a:defRPr sz="1800">
                <a:solidFill>
                  <a:schemeClr val="tx2"/>
                </a:solidFill>
              </a:defRPr>
            </a:lvl3pPr>
            <a:lvl4pPr marL="0" indent="0">
              <a:buNone/>
              <a:defRPr sz="1800">
                <a:solidFill>
                  <a:schemeClr val="tx2"/>
                </a:solidFill>
              </a:defRPr>
            </a:lvl4pPr>
            <a:lvl5pPr marL="0" indent="0">
              <a:buNone/>
              <a:defRPr sz="1800">
                <a:solidFill>
                  <a:schemeClr val="tx2"/>
                </a:solidFill>
              </a:defRPr>
            </a:lvl5pPr>
            <a:lvl6pPr marL="0" indent="0">
              <a:buNone/>
              <a:defRPr sz="1800">
                <a:solidFill>
                  <a:schemeClr val="tx2"/>
                </a:solidFill>
              </a:defRPr>
            </a:lvl6pPr>
            <a:lvl7pPr marL="0" indent="0">
              <a:buNone/>
              <a:defRPr sz="1800">
                <a:solidFill>
                  <a:schemeClr val="tx2"/>
                </a:solidFill>
              </a:defRPr>
            </a:lvl7pPr>
            <a:lvl8pPr marL="0" indent="0">
              <a:buNone/>
              <a:defRPr sz="1800">
                <a:solidFill>
                  <a:schemeClr val="tx2"/>
                </a:solidFill>
              </a:defRPr>
            </a:lvl8pPr>
            <a:lvl9pPr marL="0" indent="0">
              <a:buNone/>
              <a:defRPr sz="18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Sub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Titelmasterfor6-spaltig, Text/Foto/Diagramm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9714319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spaltig, Foto/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1A84C6B-6EC4-47AC-885E-66C97488309A}" type="datetime1">
              <a:rPr lang="de-DE" smtClean="0"/>
              <a:t>22.05.19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[Veranstaltungtitel] [Referent/Autor]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4915BD61-E5D5-4E4F-ADA0-6F3448AB9FA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4"/>
          </p:nvPr>
        </p:nvSpPr>
        <p:spPr bwMode="gray">
          <a:xfrm>
            <a:off x="6239226" y="1702144"/>
            <a:ext cx="5400750" cy="4248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6</a:t>
            </a:r>
          </a:p>
          <a:p>
            <a:pPr lvl="4"/>
            <a:r>
              <a:rPr lang="de-DE" dirty="0"/>
              <a:t>7</a:t>
            </a:r>
          </a:p>
          <a:p>
            <a:pPr lvl="4"/>
            <a:r>
              <a:rPr lang="de-DE" dirty="0"/>
              <a:t>8</a:t>
            </a:r>
          </a:p>
          <a:p>
            <a:pPr lvl="4"/>
            <a:r>
              <a:rPr lang="de-DE" dirty="0"/>
              <a:t>9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5"/>
          </p:nvPr>
        </p:nvSpPr>
        <p:spPr bwMode="gray">
          <a:xfrm>
            <a:off x="550436" y="1702144"/>
            <a:ext cx="5400750" cy="4248000"/>
          </a:xfrm>
          <a:pattFill prst="ltUpDiag">
            <a:fgClr>
              <a:schemeClr val="tx2"/>
            </a:fgClr>
            <a:bgClr>
              <a:schemeClr val="bg1"/>
            </a:bgClr>
          </a:pattFill>
        </p:spPr>
        <p:txBody>
          <a:bodyPr tIns="0" bIns="468000" anchor="ctr" anchorCtr="1"/>
          <a:lstStyle>
            <a:lvl1pPr marL="0" marR="0" indent="0" algn="ctr" defTabSz="1219170" rtl="0" eaLnBrk="1" fontAlgn="auto" latinLnBrk="0" hangingPunct="1">
              <a:lnSpc>
                <a:spcPts val="22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 cap="none" baseline="0">
                <a:solidFill>
                  <a:schemeClr val="tx1"/>
                </a:solidFill>
              </a:defRPr>
            </a:lvl1pPr>
            <a:lvl2pPr marL="0" indent="0" algn="ctr">
              <a:buNone/>
              <a:defRPr sz="1200"/>
            </a:lvl2pPr>
          </a:lstStyle>
          <a:p>
            <a:pPr lvl="0"/>
            <a:r>
              <a:rPr lang="de-DE" dirty="0"/>
              <a:t>Bild durch Klicken auf Symbol hinzufügen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0863" y="982286"/>
            <a:ext cx="11088687" cy="503238"/>
          </a:xfrm>
        </p:spPr>
        <p:txBody>
          <a:bodyPr/>
          <a:lstStyle>
            <a:lvl1pPr marL="0" indent="0">
              <a:buNone/>
              <a:defRPr sz="1800" cap="none" baseline="0">
                <a:solidFill>
                  <a:schemeClr val="tx2"/>
                </a:solidFill>
              </a:defRPr>
            </a:lvl1pPr>
            <a:lvl2pPr marL="0" indent="0">
              <a:buNone/>
              <a:defRPr sz="1800">
                <a:solidFill>
                  <a:schemeClr val="tx2"/>
                </a:solidFill>
              </a:defRPr>
            </a:lvl2pPr>
            <a:lvl3pPr marL="0" indent="0">
              <a:buNone/>
              <a:defRPr sz="1800">
                <a:solidFill>
                  <a:schemeClr val="tx2"/>
                </a:solidFill>
              </a:defRPr>
            </a:lvl3pPr>
            <a:lvl4pPr marL="0" indent="0">
              <a:buNone/>
              <a:defRPr sz="1800">
                <a:solidFill>
                  <a:schemeClr val="tx2"/>
                </a:solidFill>
              </a:defRPr>
            </a:lvl4pPr>
            <a:lvl5pPr marL="0" indent="0">
              <a:buNone/>
              <a:defRPr sz="1800">
                <a:solidFill>
                  <a:schemeClr val="tx2"/>
                </a:solidFill>
              </a:defRPr>
            </a:lvl5pPr>
            <a:lvl6pPr marL="0" indent="0">
              <a:buNone/>
              <a:defRPr sz="1800">
                <a:solidFill>
                  <a:schemeClr val="tx2"/>
                </a:solidFill>
              </a:defRPr>
            </a:lvl6pPr>
            <a:lvl7pPr marL="0" indent="0">
              <a:buNone/>
              <a:defRPr sz="1800">
                <a:solidFill>
                  <a:schemeClr val="tx2"/>
                </a:solidFill>
              </a:defRPr>
            </a:lvl7pPr>
            <a:lvl8pPr marL="0" indent="0">
              <a:buNone/>
              <a:defRPr sz="1800">
                <a:solidFill>
                  <a:schemeClr val="tx2"/>
                </a:solidFill>
              </a:defRPr>
            </a:lvl8pPr>
            <a:lvl9pPr marL="0" indent="0">
              <a:buNone/>
              <a:defRPr sz="18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Sub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dirty="0"/>
              <a:t>2-spaltig, Foto/Inhalt</a:t>
            </a:r>
          </a:p>
        </p:txBody>
      </p:sp>
    </p:spTree>
    <p:extLst>
      <p:ext uri="{BB962C8B-B14F-4D97-AF65-F5344CB8AC3E}">
        <p14:creationId xmlns:p14="http://schemas.microsoft.com/office/powerpoint/2010/main" val="403212727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Foto, 1/3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552876" y="405374"/>
            <a:ext cx="110871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2/3 Bild, 1/3 Inhalt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781B8D6-F457-4440-8CB4-7B809BDD55B3}" type="datetime1">
              <a:rPr lang="de-DE" smtClean="0"/>
              <a:t>22.05.19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[Veranstaltungtitel] [Referent/Autor]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4915BD61-E5D5-4E4F-ADA0-6F3448AB9FA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6" name="Inhaltsplatzhalter 2"/>
          <p:cNvSpPr>
            <a:spLocks noGrp="1"/>
          </p:cNvSpPr>
          <p:nvPr>
            <p:ph sz="quarter" idx="18"/>
          </p:nvPr>
        </p:nvSpPr>
        <p:spPr bwMode="gray">
          <a:xfrm>
            <a:off x="8111976" y="1701799"/>
            <a:ext cx="3528000" cy="4248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6</a:t>
            </a:r>
          </a:p>
          <a:p>
            <a:pPr lvl="4"/>
            <a:r>
              <a:rPr lang="de-DE" dirty="0"/>
              <a:t>7</a:t>
            </a:r>
          </a:p>
          <a:p>
            <a:pPr lvl="4"/>
            <a:r>
              <a:rPr lang="de-DE" dirty="0"/>
              <a:t>8</a:t>
            </a:r>
          </a:p>
          <a:p>
            <a:pPr lvl="4"/>
            <a:r>
              <a:rPr lang="de-DE" dirty="0"/>
              <a:t>9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9"/>
          </p:nvPr>
        </p:nvSpPr>
        <p:spPr bwMode="gray">
          <a:xfrm>
            <a:off x="550436" y="1701800"/>
            <a:ext cx="7344000" cy="4248000"/>
          </a:xfrm>
          <a:pattFill prst="ltUpDiag">
            <a:fgClr>
              <a:schemeClr val="tx2"/>
            </a:fgClr>
            <a:bgClr>
              <a:schemeClr val="bg1"/>
            </a:bgClr>
          </a:pattFill>
        </p:spPr>
        <p:txBody>
          <a:bodyPr tIns="0" bIns="468000" anchor="ctr" anchorCtr="1"/>
          <a:lstStyle>
            <a:lvl1pPr marL="0" marR="0" indent="0" algn="ctr" defTabSz="1219170" rtl="0" eaLnBrk="1" fontAlgn="auto" latinLnBrk="0" hangingPunct="1">
              <a:lnSpc>
                <a:spcPts val="22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anose="05000000000000000000" pitchFamily="2" charset="2"/>
              <a:buNone/>
              <a:tabLst/>
              <a:defRPr sz="1200" cap="none" baseline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0863" y="982286"/>
            <a:ext cx="11088687" cy="503238"/>
          </a:xfrm>
        </p:spPr>
        <p:txBody>
          <a:bodyPr/>
          <a:lstStyle>
            <a:lvl1pPr marL="0" indent="0">
              <a:buNone/>
              <a:defRPr sz="1800" cap="none" baseline="0">
                <a:solidFill>
                  <a:schemeClr val="tx2"/>
                </a:solidFill>
              </a:defRPr>
            </a:lvl1pPr>
            <a:lvl2pPr marL="0" indent="0">
              <a:buNone/>
              <a:defRPr sz="1800">
                <a:solidFill>
                  <a:schemeClr val="tx2"/>
                </a:solidFill>
              </a:defRPr>
            </a:lvl2pPr>
            <a:lvl3pPr marL="0" indent="0">
              <a:buNone/>
              <a:defRPr sz="1800">
                <a:solidFill>
                  <a:schemeClr val="tx2"/>
                </a:solidFill>
              </a:defRPr>
            </a:lvl3pPr>
            <a:lvl4pPr marL="0" indent="0">
              <a:buNone/>
              <a:defRPr sz="1800">
                <a:solidFill>
                  <a:schemeClr val="tx2"/>
                </a:solidFill>
              </a:defRPr>
            </a:lvl4pPr>
            <a:lvl5pPr marL="0" indent="0">
              <a:buNone/>
              <a:defRPr sz="1800">
                <a:solidFill>
                  <a:schemeClr val="tx2"/>
                </a:solidFill>
              </a:defRPr>
            </a:lvl5pPr>
            <a:lvl6pPr marL="0" indent="0">
              <a:buNone/>
              <a:defRPr sz="1800">
                <a:solidFill>
                  <a:schemeClr val="tx2"/>
                </a:solidFill>
              </a:defRPr>
            </a:lvl6pPr>
            <a:lvl7pPr marL="0" indent="0">
              <a:buNone/>
              <a:defRPr sz="1800">
                <a:solidFill>
                  <a:schemeClr val="tx2"/>
                </a:solidFill>
              </a:defRPr>
            </a:lvl7pPr>
            <a:lvl8pPr marL="0" indent="0">
              <a:buNone/>
              <a:defRPr sz="1800">
                <a:solidFill>
                  <a:schemeClr val="tx2"/>
                </a:solidFill>
              </a:defRPr>
            </a:lvl8pPr>
            <a:lvl9pPr marL="0" indent="0">
              <a:buNone/>
              <a:defRPr sz="18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Subheadline</a:t>
            </a:r>
          </a:p>
        </p:txBody>
      </p:sp>
      <p:sp>
        <p:nvSpPr>
          <p:cNvPr id="11" name="MIO_VALID_LAYOUT"/>
          <p:cNvSpPr/>
          <p:nvPr userDrawn="1"/>
        </p:nvSpPr>
        <p:spPr bwMode="gray">
          <a:xfrm>
            <a:off x="11855053" y="6586853"/>
            <a:ext cx="335360" cy="26082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83578757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1/3 Foto, 2/3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550436" y="405374"/>
            <a:ext cx="11087100" cy="432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1 1/3 Foto, 2/3 Inhalt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490A470-F883-4166-8948-EF896E989CF4}" type="datetime1">
              <a:rPr lang="de-DE" smtClean="0"/>
              <a:t>22.05.19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[Veranstaltungtitel] [Referent/Autor]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4915BD61-E5D5-4E4F-ADA0-6F3448AB9FA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6" name="Inhaltsplatzhalter 2"/>
          <p:cNvSpPr>
            <a:spLocks noGrp="1"/>
          </p:cNvSpPr>
          <p:nvPr>
            <p:ph sz="quarter" idx="18"/>
          </p:nvPr>
        </p:nvSpPr>
        <p:spPr bwMode="gray">
          <a:xfrm>
            <a:off x="4294956" y="1701801"/>
            <a:ext cx="7345020" cy="42481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6</a:t>
            </a:r>
          </a:p>
          <a:p>
            <a:pPr lvl="4"/>
            <a:r>
              <a:rPr lang="de-DE" dirty="0"/>
              <a:t>7</a:t>
            </a:r>
          </a:p>
          <a:p>
            <a:pPr lvl="4"/>
            <a:r>
              <a:rPr lang="de-DE" dirty="0"/>
              <a:t>8</a:t>
            </a:r>
          </a:p>
          <a:p>
            <a:pPr lvl="4"/>
            <a:r>
              <a:rPr lang="de-DE" dirty="0"/>
              <a:t>9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9"/>
          </p:nvPr>
        </p:nvSpPr>
        <p:spPr bwMode="gray">
          <a:xfrm>
            <a:off x="550436" y="1702144"/>
            <a:ext cx="3528000" cy="4248000"/>
          </a:xfrm>
          <a:pattFill prst="ltUpDiag">
            <a:fgClr>
              <a:schemeClr val="tx2"/>
            </a:fgClr>
            <a:bgClr>
              <a:schemeClr val="bg1"/>
            </a:bgClr>
          </a:pattFill>
        </p:spPr>
        <p:txBody>
          <a:bodyPr tIns="0" bIns="468000" anchor="ctr" anchorCtr="1"/>
          <a:lstStyle>
            <a:lvl1pPr marL="0" indent="0" algn="ctr">
              <a:buNone/>
              <a:defRPr sz="1200" b="0" cap="none" baseline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0863" y="982286"/>
            <a:ext cx="11088687" cy="503238"/>
          </a:xfrm>
        </p:spPr>
        <p:txBody>
          <a:bodyPr/>
          <a:lstStyle>
            <a:lvl1pPr marL="0" indent="0">
              <a:buNone/>
              <a:defRPr sz="1800" cap="none" baseline="0">
                <a:solidFill>
                  <a:schemeClr val="tx2"/>
                </a:solidFill>
              </a:defRPr>
            </a:lvl1pPr>
            <a:lvl2pPr marL="0" indent="0">
              <a:buNone/>
              <a:defRPr sz="1800">
                <a:solidFill>
                  <a:schemeClr val="tx2"/>
                </a:solidFill>
              </a:defRPr>
            </a:lvl2pPr>
            <a:lvl3pPr marL="0" indent="0">
              <a:buNone/>
              <a:defRPr sz="1800">
                <a:solidFill>
                  <a:schemeClr val="tx2"/>
                </a:solidFill>
              </a:defRPr>
            </a:lvl3pPr>
            <a:lvl4pPr marL="0" indent="0">
              <a:buNone/>
              <a:defRPr sz="1800">
                <a:solidFill>
                  <a:schemeClr val="tx2"/>
                </a:solidFill>
              </a:defRPr>
            </a:lvl4pPr>
            <a:lvl5pPr marL="0" indent="0">
              <a:buNone/>
              <a:defRPr sz="1800">
                <a:solidFill>
                  <a:schemeClr val="tx2"/>
                </a:solidFill>
              </a:defRPr>
            </a:lvl5pPr>
            <a:lvl6pPr marL="0" indent="0">
              <a:buNone/>
              <a:defRPr sz="1800">
                <a:solidFill>
                  <a:schemeClr val="tx2"/>
                </a:solidFill>
              </a:defRPr>
            </a:lvl6pPr>
            <a:lvl7pPr marL="0" indent="0">
              <a:buNone/>
              <a:defRPr sz="1800">
                <a:solidFill>
                  <a:schemeClr val="tx2"/>
                </a:solidFill>
              </a:defRPr>
            </a:lvl7pPr>
            <a:lvl8pPr marL="0" indent="0">
              <a:buNone/>
              <a:defRPr sz="1800">
                <a:solidFill>
                  <a:schemeClr val="tx2"/>
                </a:solidFill>
              </a:defRPr>
            </a:lvl8pPr>
            <a:lvl9pPr marL="0" indent="0">
              <a:buNone/>
              <a:defRPr sz="18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Subheadline</a:t>
            </a:r>
          </a:p>
        </p:txBody>
      </p:sp>
      <p:sp>
        <p:nvSpPr>
          <p:cNvPr id="11" name="MIO_VALID_LAYOUT"/>
          <p:cNvSpPr/>
          <p:nvPr userDrawn="1"/>
        </p:nvSpPr>
        <p:spPr bwMode="gray">
          <a:xfrm>
            <a:off x="11855053" y="6586853"/>
            <a:ext cx="335360" cy="26082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8703091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ohne Bild">
    <p:bg>
      <p:bgPr>
        <a:solidFill>
          <a:srgbClr val="0071B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50436" y="1989594"/>
            <a:ext cx="6624000" cy="108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2000" cap="none" baseline="0">
                <a:solidFill>
                  <a:schemeClr val="bg1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Hier steht ein Untertitel 20pt</a:t>
            </a:r>
          </a:p>
        </p:txBody>
      </p:sp>
      <p:sp>
        <p:nvSpPr>
          <p:cNvPr id="7" name="Freihandform 6"/>
          <p:cNvSpPr/>
          <p:nvPr userDrawn="1"/>
        </p:nvSpPr>
        <p:spPr bwMode="gray">
          <a:xfrm rot="5028044">
            <a:off x="4702484" y="-15160"/>
            <a:ext cx="2782356" cy="12275255"/>
          </a:xfrm>
          <a:custGeom>
            <a:avLst/>
            <a:gdLst>
              <a:gd name="connsiteX0" fmla="*/ 741981 w 2782356"/>
              <a:gd name="connsiteY0" fmla="*/ 2666488 h 12275255"/>
              <a:gd name="connsiteX1" fmla="*/ 1230504 w 2782356"/>
              <a:gd name="connsiteY1" fmla="*/ 326671 h 12275255"/>
              <a:gd name="connsiteX2" fmla="*/ 1291329 w 2782356"/>
              <a:gd name="connsiteY2" fmla="*/ 153122 h 12275255"/>
              <a:gd name="connsiteX3" fmla="*/ 1337660 w 2782356"/>
              <a:gd name="connsiteY3" fmla="*/ 1422 h 12275255"/>
              <a:gd name="connsiteX4" fmla="*/ 1344246 w 2782356"/>
              <a:gd name="connsiteY4" fmla="*/ 2137 h 12275255"/>
              <a:gd name="connsiteX5" fmla="*/ 1344995 w 2782356"/>
              <a:gd name="connsiteY5" fmla="*/ 0 h 12275255"/>
              <a:gd name="connsiteX6" fmla="*/ 2782356 w 2782356"/>
              <a:gd name="connsiteY6" fmla="*/ 156129 h 12275255"/>
              <a:gd name="connsiteX7" fmla="*/ 1465955 w 2782356"/>
              <a:gd name="connsiteY7" fmla="*/ 12275255 h 12275255"/>
              <a:gd name="connsiteX8" fmla="*/ 0 w 2782356"/>
              <a:gd name="connsiteY8" fmla="*/ 12116020 h 12275255"/>
              <a:gd name="connsiteX9" fmla="*/ 95071 w 2782356"/>
              <a:gd name="connsiteY9" fmla="*/ 11856215 h 12275255"/>
              <a:gd name="connsiteX10" fmla="*/ 237121 w 2782356"/>
              <a:gd name="connsiteY10" fmla="*/ 11386506 h 12275255"/>
              <a:gd name="connsiteX11" fmla="*/ 315560 w 2782356"/>
              <a:gd name="connsiteY11" fmla="*/ 11080850 h 12275255"/>
              <a:gd name="connsiteX12" fmla="*/ 327278 w 2782356"/>
              <a:gd name="connsiteY12" fmla="*/ 11032111 h 12275255"/>
              <a:gd name="connsiteX13" fmla="*/ 398720 w 2782356"/>
              <a:gd name="connsiteY13" fmla="*/ 10712652 h 12275255"/>
              <a:gd name="connsiteX14" fmla="*/ 693610 w 2782356"/>
              <a:gd name="connsiteY14" fmla="*/ 6299194 h 12275255"/>
              <a:gd name="connsiteX15" fmla="*/ 691851 w 2782356"/>
              <a:gd name="connsiteY15" fmla="*/ 6269220 h 12275255"/>
              <a:gd name="connsiteX16" fmla="*/ 676341 w 2782356"/>
              <a:gd name="connsiteY16" fmla="*/ 6112792 h 12275255"/>
              <a:gd name="connsiteX17" fmla="*/ 655714 w 2782356"/>
              <a:gd name="connsiteY17" fmla="*/ 5762308 h 12275255"/>
              <a:gd name="connsiteX18" fmla="*/ 649738 w 2782356"/>
              <a:gd name="connsiteY18" fmla="*/ 5687796 h 12275255"/>
              <a:gd name="connsiteX19" fmla="*/ 646295 w 2782356"/>
              <a:gd name="connsiteY19" fmla="*/ 5602281 h 12275255"/>
              <a:gd name="connsiteX20" fmla="*/ 635975 w 2782356"/>
              <a:gd name="connsiteY20" fmla="*/ 5426916 h 12275255"/>
              <a:gd name="connsiteX21" fmla="*/ 633338 w 2782356"/>
              <a:gd name="connsiteY21" fmla="*/ 5291486 h 12275255"/>
              <a:gd name="connsiteX22" fmla="*/ 625017 w 2782356"/>
              <a:gd name="connsiteY22" fmla="*/ 5123051 h 12275255"/>
              <a:gd name="connsiteX23" fmla="*/ 621266 w 2782356"/>
              <a:gd name="connsiteY23" fmla="*/ 4931192 h 12275255"/>
              <a:gd name="connsiteX24" fmla="*/ 618875 w 2782356"/>
              <a:gd name="connsiteY24" fmla="*/ 4742998 h 12275255"/>
              <a:gd name="connsiteX25" fmla="*/ 616861 w 2782356"/>
              <a:gd name="connsiteY25" fmla="*/ 4551326 h 12275255"/>
              <a:gd name="connsiteX26" fmla="*/ 618507 w 2782356"/>
              <a:gd name="connsiteY26" fmla="*/ 4358298 h 12275255"/>
              <a:gd name="connsiteX27" fmla="*/ 623815 w 2782356"/>
              <a:gd name="connsiteY27" fmla="*/ 4163911 h 12275255"/>
              <a:gd name="connsiteX28" fmla="*/ 632216 w 2782356"/>
              <a:gd name="connsiteY28" fmla="*/ 3973373 h 12275255"/>
              <a:gd name="connsiteX29" fmla="*/ 640995 w 2782356"/>
              <a:gd name="connsiteY29" fmla="*/ 3779362 h 12275255"/>
              <a:gd name="connsiteX30" fmla="*/ 651699 w 2782356"/>
              <a:gd name="connsiteY30" fmla="*/ 3583805 h 12275255"/>
              <a:gd name="connsiteX31" fmla="*/ 667421 w 2782356"/>
              <a:gd name="connsiteY31" fmla="*/ 3390548 h 12275255"/>
              <a:gd name="connsiteX32" fmla="*/ 685256 w 2782356"/>
              <a:gd name="connsiteY32" fmla="*/ 3194009 h 12275255"/>
              <a:gd name="connsiteX33" fmla="*/ 706564 w 2782356"/>
              <a:gd name="connsiteY33" fmla="*/ 2997846 h 12275255"/>
              <a:gd name="connsiteX34" fmla="*/ 727683 w 2782356"/>
              <a:gd name="connsiteY34" fmla="*/ 2803420 h 12275255"/>
              <a:gd name="connsiteX35" fmla="*/ 731010 w 2782356"/>
              <a:gd name="connsiteY35" fmla="*/ 2777130 h 12275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2782356" h="12275255">
                <a:moveTo>
                  <a:pt x="741981" y="2666488"/>
                </a:moveTo>
                <a:cubicBezTo>
                  <a:pt x="845755" y="1801279"/>
                  <a:pt x="1013357" y="1008994"/>
                  <a:pt x="1230504" y="326671"/>
                </a:cubicBezTo>
                <a:lnTo>
                  <a:pt x="1291329" y="153122"/>
                </a:lnTo>
                <a:lnTo>
                  <a:pt x="1337660" y="1422"/>
                </a:lnTo>
                <a:lnTo>
                  <a:pt x="1344246" y="2137"/>
                </a:lnTo>
                <a:lnTo>
                  <a:pt x="1344995" y="0"/>
                </a:lnTo>
                <a:lnTo>
                  <a:pt x="2782356" y="156129"/>
                </a:lnTo>
                <a:lnTo>
                  <a:pt x="1465955" y="12275255"/>
                </a:lnTo>
                <a:lnTo>
                  <a:pt x="0" y="12116020"/>
                </a:lnTo>
                <a:lnTo>
                  <a:pt x="95071" y="11856215"/>
                </a:lnTo>
                <a:cubicBezTo>
                  <a:pt x="145367" y="11705078"/>
                  <a:pt x="192731" y="11548364"/>
                  <a:pt x="237121" y="11386506"/>
                </a:cubicBezTo>
                <a:lnTo>
                  <a:pt x="315560" y="11080850"/>
                </a:lnTo>
                <a:lnTo>
                  <a:pt x="327278" y="11032111"/>
                </a:lnTo>
                <a:lnTo>
                  <a:pt x="398720" y="10712652"/>
                </a:lnTo>
                <a:cubicBezTo>
                  <a:pt x="665539" y="9430689"/>
                  <a:pt x="769396" y="7902911"/>
                  <a:pt x="693610" y="6299194"/>
                </a:cubicBezTo>
                <a:lnTo>
                  <a:pt x="691851" y="6269220"/>
                </a:lnTo>
                <a:lnTo>
                  <a:pt x="676341" y="6112792"/>
                </a:lnTo>
                <a:lnTo>
                  <a:pt x="655714" y="5762308"/>
                </a:lnTo>
                <a:lnTo>
                  <a:pt x="649738" y="5687796"/>
                </a:lnTo>
                <a:lnTo>
                  <a:pt x="646295" y="5602281"/>
                </a:lnTo>
                <a:lnTo>
                  <a:pt x="635975" y="5426916"/>
                </a:lnTo>
                <a:lnTo>
                  <a:pt x="633338" y="5291486"/>
                </a:lnTo>
                <a:lnTo>
                  <a:pt x="625017" y="5123051"/>
                </a:lnTo>
                <a:lnTo>
                  <a:pt x="621266" y="4931192"/>
                </a:lnTo>
                <a:lnTo>
                  <a:pt x="618875" y="4742998"/>
                </a:lnTo>
                <a:lnTo>
                  <a:pt x="616861" y="4551326"/>
                </a:lnTo>
                <a:lnTo>
                  <a:pt x="618507" y="4358298"/>
                </a:lnTo>
                <a:lnTo>
                  <a:pt x="623815" y="4163911"/>
                </a:lnTo>
                <a:lnTo>
                  <a:pt x="632216" y="3973373"/>
                </a:lnTo>
                <a:lnTo>
                  <a:pt x="640995" y="3779362"/>
                </a:lnTo>
                <a:lnTo>
                  <a:pt x="651699" y="3583805"/>
                </a:lnTo>
                <a:lnTo>
                  <a:pt x="667421" y="3390548"/>
                </a:lnTo>
                <a:lnTo>
                  <a:pt x="685256" y="3194009"/>
                </a:lnTo>
                <a:lnTo>
                  <a:pt x="706564" y="2997846"/>
                </a:lnTo>
                <a:lnTo>
                  <a:pt x="727683" y="2803420"/>
                </a:lnTo>
                <a:lnTo>
                  <a:pt x="731010" y="277713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839137" y="6179031"/>
            <a:ext cx="1800000" cy="450333"/>
          </a:xfrm>
          <a:prstGeom prst="rect">
            <a:avLst/>
          </a:prstGeom>
        </p:spPr>
      </p:pic>
      <p:sp>
        <p:nvSpPr>
          <p:cNvPr id="14" name="Textplatzhalt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50436" y="3141894"/>
            <a:ext cx="6624000" cy="10080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 b="1" cap="none" baseline="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5pPr>
            <a:lvl6pPr marL="0" indent="0">
              <a:buNone/>
              <a:defRPr sz="1400" b="1">
                <a:solidFill>
                  <a:schemeClr val="bg1"/>
                </a:solidFill>
              </a:defRPr>
            </a:lvl6pPr>
            <a:lvl7pPr marL="0" indent="0">
              <a:buNone/>
              <a:defRPr sz="1400" b="1">
                <a:solidFill>
                  <a:schemeClr val="bg1"/>
                </a:solidFill>
              </a:defRPr>
            </a:lvl7pPr>
            <a:lvl8pPr marL="0" indent="0">
              <a:buNone/>
              <a:defRPr sz="1400" b="1">
                <a:solidFill>
                  <a:schemeClr val="bg1"/>
                </a:solidFill>
              </a:defRPr>
            </a:lvl8pPr>
            <a:lvl9pPr marL="0" indent="0">
              <a:buNone/>
              <a:defRPr sz="14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Max Mustermann – Head </a:t>
            </a:r>
            <a:r>
              <a:rPr lang="de-DE" dirty="0" err="1"/>
              <a:t>of</a:t>
            </a:r>
            <a:r>
              <a:rPr lang="de-DE" dirty="0"/>
              <a:t> Corporate</a:t>
            </a:r>
            <a:br>
              <a:rPr lang="de-DE" dirty="0"/>
            </a:br>
            <a:r>
              <a:rPr lang="de-DE" dirty="0"/>
              <a:t>Ort, Datum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50436" y="477384"/>
            <a:ext cx="6624493" cy="1440000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Variante ohne geeignetes Bildmaterial 32pt</a:t>
            </a:r>
          </a:p>
        </p:txBody>
      </p:sp>
    </p:spTree>
    <p:extLst>
      <p:ext uri="{BB962C8B-B14F-4D97-AF65-F5344CB8AC3E}">
        <p14:creationId xmlns:p14="http://schemas.microsoft.com/office/powerpoint/2010/main" val="181961758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blau">
    <p:bg>
      <p:bgPr>
        <a:solidFill>
          <a:srgbClr val="0071B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50435" y="477384"/>
            <a:ext cx="6624000" cy="1440000"/>
          </a:xfrm>
        </p:spPr>
        <p:txBody>
          <a:bodyPr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Vielen Dank für </a:t>
            </a:r>
            <a:br>
              <a:rPr lang="de-DE" dirty="0"/>
            </a:br>
            <a:r>
              <a:rPr lang="de-DE" dirty="0"/>
              <a:t>Ihre Aufmerksamkeit 32pt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50435" y="1989744"/>
            <a:ext cx="6624000" cy="1080000"/>
          </a:xfrm>
        </p:spPr>
        <p:txBody>
          <a:bodyPr/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2000" cap="none" baseline="0">
                <a:solidFill>
                  <a:schemeClr val="bg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Hier steht ein Untertitel 20pt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839137" y="6179113"/>
            <a:ext cx="1800000" cy="450170"/>
          </a:xfrm>
          <a:prstGeom prst="rect">
            <a:avLst/>
          </a:prstGeom>
        </p:spPr>
      </p:pic>
      <p:sp>
        <p:nvSpPr>
          <p:cNvPr id="14" name="Textplatzhalt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50435" y="3141894"/>
            <a:ext cx="6624000" cy="1008000"/>
          </a:xfrm>
        </p:spPr>
        <p:txBody>
          <a:bodyPr/>
          <a:lstStyle>
            <a:lvl1pPr marL="0" indent="0">
              <a:buNone/>
              <a:defRPr sz="1400" b="1" cap="none" baseline="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5pPr>
            <a:lvl6pPr marL="0" indent="0">
              <a:buNone/>
              <a:defRPr sz="1400" b="1">
                <a:solidFill>
                  <a:schemeClr val="bg1"/>
                </a:solidFill>
              </a:defRPr>
            </a:lvl6pPr>
            <a:lvl7pPr marL="0" indent="0">
              <a:buNone/>
              <a:defRPr sz="1400" b="1">
                <a:solidFill>
                  <a:schemeClr val="bg1"/>
                </a:solidFill>
              </a:defRPr>
            </a:lvl7pPr>
            <a:lvl8pPr marL="0" indent="0">
              <a:buNone/>
              <a:defRPr sz="1400" b="1">
                <a:solidFill>
                  <a:schemeClr val="bg1"/>
                </a:solidFill>
              </a:defRPr>
            </a:lvl8pPr>
            <a:lvl9pPr marL="0" indent="0">
              <a:buNone/>
              <a:defRPr sz="14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Max Mustermann – Head </a:t>
            </a:r>
            <a:r>
              <a:rPr lang="de-DE" dirty="0" err="1"/>
              <a:t>of</a:t>
            </a:r>
            <a:r>
              <a:rPr lang="de-DE" dirty="0"/>
              <a:t> Corporate</a:t>
            </a:r>
            <a:br>
              <a:rPr lang="de-DE" dirty="0"/>
            </a:br>
            <a:r>
              <a:rPr lang="de-DE" dirty="0"/>
              <a:t>Ort, Datum</a:t>
            </a:r>
          </a:p>
        </p:txBody>
      </p:sp>
      <p:sp>
        <p:nvSpPr>
          <p:cNvPr id="10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50436" y="4725938"/>
            <a:ext cx="6624000" cy="1008000"/>
          </a:xfrm>
        </p:spPr>
        <p:txBody>
          <a:bodyPr/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1400" cap="none" baseline="0">
                <a:solidFill>
                  <a:schemeClr val="bg1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www.tuv.com</a:t>
            </a:r>
          </a:p>
        </p:txBody>
      </p:sp>
    </p:spTree>
    <p:extLst>
      <p:ext uri="{BB962C8B-B14F-4D97-AF65-F5344CB8AC3E}">
        <p14:creationId xmlns:p14="http://schemas.microsoft.com/office/powerpoint/2010/main" val="186393610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weiß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50436" y="477384"/>
            <a:ext cx="6624000" cy="1440000"/>
          </a:xfrm>
        </p:spPr>
        <p:txBody>
          <a:bodyPr/>
          <a:lstStyle>
            <a:lvl1pPr>
              <a:defRPr sz="3200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Vielen Dank für </a:t>
            </a:r>
            <a:br>
              <a:rPr lang="de-DE" dirty="0"/>
            </a:br>
            <a:r>
              <a:rPr lang="de-DE" dirty="0"/>
              <a:t>Ihre Aufmerksamkeit 32pt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50436" y="1989744"/>
            <a:ext cx="6624000" cy="1080000"/>
          </a:xfrm>
        </p:spPr>
        <p:txBody>
          <a:bodyPr/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2000" cap="none" baseline="0">
                <a:solidFill>
                  <a:schemeClr val="tx2"/>
                </a:solidFill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Hier steht ein Untertitel 20pt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50436" y="3141894"/>
            <a:ext cx="6624000" cy="1008000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anose="020B0604020202020204" pitchFamily="34" charset="0"/>
              <a:buNone/>
              <a:defRPr sz="1400" b="1" cap="none" baseline="0">
                <a:solidFill>
                  <a:schemeClr val="tx1"/>
                </a:solidFill>
              </a:defRPr>
            </a:lvl1pPr>
            <a:lvl2pPr marL="0" indent="0">
              <a:spcAft>
                <a:spcPts val="600"/>
              </a:spcAft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0" indent="0">
              <a:spcAft>
                <a:spcPts val="600"/>
              </a:spcAft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3pPr>
            <a:lvl4pPr marL="0" indent="0">
              <a:spcAft>
                <a:spcPts val="600"/>
              </a:spcAft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4pPr>
            <a:lvl5pPr marL="0" indent="0">
              <a:spcAft>
                <a:spcPts val="600"/>
              </a:spcAft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5pPr>
            <a:lvl6pPr marL="0" indent="0">
              <a:spcAft>
                <a:spcPts val="600"/>
              </a:spcAft>
              <a:buNone/>
              <a:defRPr sz="1400" b="1">
                <a:solidFill>
                  <a:schemeClr val="tx1"/>
                </a:solidFill>
              </a:defRPr>
            </a:lvl6pPr>
            <a:lvl7pPr marL="0" indent="0">
              <a:spcAft>
                <a:spcPts val="600"/>
              </a:spcAft>
              <a:buNone/>
              <a:defRPr sz="1400" b="1">
                <a:solidFill>
                  <a:schemeClr val="tx1"/>
                </a:solidFill>
              </a:defRPr>
            </a:lvl7pPr>
            <a:lvl8pPr marL="0" indent="0">
              <a:spcAft>
                <a:spcPts val="600"/>
              </a:spcAft>
              <a:buNone/>
              <a:defRPr sz="1400" b="1">
                <a:solidFill>
                  <a:schemeClr val="tx1"/>
                </a:solidFill>
              </a:defRPr>
            </a:lvl8pPr>
            <a:lvl9pPr marL="0" indent="0">
              <a:spcAft>
                <a:spcPts val="600"/>
              </a:spcAft>
              <a:buNone/>
              <a:defRPr sz="14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Max Mustermann – Head </a:t>
            </a:r>
            <a:r>
              <a:rPr lang="de-DE" dirty="0" err="1"/>
              <a:t>of</a:t>
            </a:r>
            <a:r>
              <a:rPr lang="de-DE" dirty="0"/>
              <a:t> Corporate</a:t>
            </a:r>
            <a:br>
              <a:rPr lang="de-DE" dirty="0"/>
            </a:br>
            <a:r>
              <a:rPr lang="de-DE" dirty="0"/>
              <a:t>Ort, Datum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871" b="6597"/>
          <a:stretch/>
        </p:blipFill>
        <p:spPr bwMode="gray">
          <a:xfrm>
            <a:off x="0" y="4792850"/>
            <a:ext cx="12190413" cy="1614235"/>
          </a:xfrm>
          <a:prstGeom prst="rect">
            <a:avLst/>
          </a:prstGeom>
        </p:spPr>
      </p:pic>
      <p:sp>
        <p:nvSpPr>
          <p:cNvPr id="10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50436" y="4725938"/>
            <a:ext cx="6624000" cy="1056462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 cap="none" baseline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/>
            </a:lvl2pPr>
            <a:lvl3pPr marL="0" indent="0">
              <a:buFont typeface="Arial" panose="020B0604020202020204" pitchFamily="34" charset="0"/>
              <a:buNone/>
              <a:defRPr sz="1400"/>
            </a:lvl3pPr>
            <a:lvl4pPr marL="0" indent="0">
              <a:buFont typeface="Arial" panose="020B0604020202020204" pitchFamily="34" charset="0"/>
              <a:buNone/>
              <a:defRPr sz="1400"/>
            </a:lvl4pPr>
            <a:lvl5pPr marL="0" indent="0">
              <a:buFont typeface="Arial" panose="020B0604020202020204" pitchFamily="34" charset="0"/>
              <a:buNone/>
              <a:defRPr sz="1400"/>
            </a:lvl5pPr>
            <a:lvl6pPr marL="0" indent="0">
              <a:buNone/>
              <a:defRPr sz="1400"/>
            </a:lvl6pPr>
            <a:lvl7pPr marL="0" indent="0">
              <a:buNone/>
              <a:defRPr sz="1400"/>
            </a:lvl7pPr>
            <a:lvl8pPr marL="0" indent="0">
              <a:buNone/>
              <a:defRPr sz="1400"/>
            </a:lvl8pPr>
            <a:lvl9pPr marL="0" indent="0">
              <a:buNone/>
              <a:defRPr sz="1400"/>
            </a:lvl9pPr>
          </a:lstStyle>
          <a:p>
            <a:pPr lvl="0"/>
            <a:r>
              <a:rPr lang="de-DE" dirty="0"/>
              <a:t>www.tuv.com</a:t>
            </a:r>
          </a:p>
        </p:txBody>
      </p:sp>
    </p:spTree>
    <p:extLst>
      <p:ext uri="{BB962C8B-B14F-4D97-AF65-F5344CB8AC3E}">
        <p14:creationId xmlns:p14="http://schemas.microsoft.com/office/powerpoint/2010/main" val="16581998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871" b="6597"/>
          <a:stretch/>
        </p:blipFill>
        <p:spPr bwMode="gray">
          <a:xfrm>
            <a:off x="0" y="4792850"/>
            <a:ext cx="12190413" cy="1614235"/>
          </a:xfrm>
          <a:prstGeom prst="rect">
            <a:avLst/>
          </a:prstGeom>
        </p:spPr>
      </p:pic>
      <p:sp>
        <p:nvSpPr>
          <p:cNvPr id="8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50436" y="477384"/>
            <a:ext cx="6624000" cy="1440000"/>
          </a:xfrm>
        </p:spPr>
        <p:txBody>
          <a:bodyPr/>
          <a:lstStyle>
            <a:lvl1pPr>
              <a:defRPr sz="3200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Variante »weiß« für interne Präsentationen 32pt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50436" y="1989744"/>
            <a:ext cx="6624000" cy="1080000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sz="2000" cap="none" baseline="0">
                <a:solidFill>
                  <a:schemeClr val="tx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Hier steht ein Untertitel 20pt</a:t>
            </a:r>
          </a:p>
        </p:txBody>
      </p:sp>
      <p:sp>
        <p:nvSpPr>
          <p:cNvPr id="10" name="Textplatzhalt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50436" y="3141894"/>
            <a:ext cx="6624000" cy="10080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 b="1" cap="none" baseline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 b="1"/>
            </a:lvl2pPr>
            <a:lvl3pPr marL="0" indent="0">
              <a:buFont typeface="Arial" panose="020B0604020202020204" pitchFamily="34" charset="0"/>
              <a:buNone/>
              <a:defRPr sz="1400" b="1"/>
            </a:lvl3pPr>
            <a:lvl4pPr marL="0" indent="0">
              <a:buFont typeface="Arial" panose="020B0604020202020204" pitchFamily="34" charset="0"/>
              <a:buNone/>
              <a:defRPr sz="1400" b="1"/>
            </a:lvl4pPr>
            <a:lvl5pPr marL="0" indent="0">
              <a:buFont typeface="Arial" panose="020B0604020202020204" pitchFamily="34" charset="0"/>
              <a:buNone/>
              <a:defRPr sz="1400" b="1"/>
            </a:lvl5pPr>
            <a:lvl6pPr marL="0" indent="0">
              <a:buNone/>
              <a:defRPr sz="1400" b="1"/>
            </a:lvl6pPr>
            <a:lvl7pPr marL="0" indent="0">
              <a:buNone/>
              <a:defRPr sz="1400" b="1"/>
            </a:lvl7pPr>
            <a:lvl8pPr marL="0" indent="0">
              <a:buNone/>
              <a:defRPr sz="1400" b="1"/>
            </a:lvl8pPr>
            <a:lvl9pPr marL="0" indent="0">
              <a:buNone/>
              <a:defRPr sz="1400" b="1"/>
            </a:lvl9pPr>
          </a:lstStyle>
          <a:p>
            <a:pPr lvl="0"/>
            <a:r>
              <a:rPr lang="de-DE" dirty="0"/>
              <a:t>Max Mustermann – Head </a:t>
            </a:r>
            <a:r>
              <a:rPr lang="de-DE" dirty="0" err="1"/>
              <a:t>of</a:t>
            </a:r>
            <a:r>
              <a:rPr lang="de-DE" dirty="0"/>
              <a:t> Corporate</a:t>
            </a:r>
          </a:p>
          <a:p>
            <a:pPr lvl="0"/>
            <a:r>
              <a:rPr lang="de-DE" dirty="0"/>
              <a:t>Ort, Datum</a:t>
            </a:r>
          </a:p>
        </p:txBody>
      </p:sp>
    </p:spTree>
    <p:extLst>
      <p:ext uri="{BB962C8B-B14F-4D97-AF65-F5344CB8AC3E}">
        <p14:creationId xmlns:p14="http://schemas.microsoft.com/office/powerpoint/2010/main" val="34804564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70634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Picture Placeholder 45"/>
          <p:cNvSpPr>
            <a:spLocks noGrp="1"/>
          </p:cNvSpPr>
          <p:nvPr>
            <p:ph type="pic" sz="quarter" idx="15"/>
          </p:nvPr>
        </p:nvSpPr>
        <p:spPr bwMode="gray">
          <a:xfrm>
            <a:off x="-2899" y="-1"/>
            <a:ext cx="12193313" cy="3406587"/>
          </a:xfrm>
          <a:custGeom>
            <a:avLst/>
            <a:gdLst>
              <a:gd name="connsiteX0" fmla="*/ 0 w 12190414"/>
              <a:gd name="connsiteY0" fmla="*/ 0 h 4091720"/>
              <a:gd name="connsiteX1" fmla="*/ 12190414 w 12190414"/>
              <a:gd name="connsiteY1" fmla="*/ 0 h 4091720"/>
              <a:gd name="connsiteX2" fmla="*/ 12190414 w 12190414"/>
              <a:gd name="connsiteY2" fmla="*/ 4091720 h 4091720"/>
              <a:gd name="connsiteX3" fmla="*/ 12190411 w 12190414"/>
              <a:gd name="connsiteY3" fmla="*/ 4091720 h 4091720"/>
              <a:gd name="connsiteX4" fmla="*/ 12190412 w 12190414"/>
              <a:gd name="connsiteY4" fmla="*/ 3126461 h 4091720"/>
              <a:gd name="connsiteX5" fmla="*/ 12188206 w 12190414"/>
              <a:gd name="connsiteY5" fmla="*/ 3125947 h 4091720"/>
              <a:gd name="connsiteX6" fmla="*/ 12188206 w 12190414"/>
              <a:gd name="connsiteY6" fmla="*/ 3119322 h 4091720"/>
              <a:gd name="connsiteX7" fmla="*/ 12032390 w 12190414"/>
              <a:gd name="connsiteY7" fmla="*/ 3089644 h 4091720"/>
              <a:gd name="connsiteX8" fmla="*/ 11853287 w 12190414"/>
              <a:gd name="connsiteY8" fmla="*/ 3047916 h 4091720"/>
              <a:gd name="connsiteX9" fmla="*/ 9474399 w 12190414"/>
              <a:gd name="connsiteY9" fmla="*/ 2814918 h 4091720"/>
              <a:gd name="connsiteX10" fmla="*/ 9363219 w 12190414"/>
              <a:gd name="connsiteY10" fmla="*/ 2815959 h 4091720"/>
              <a:gd name="connsiteX11" fmla="*/ 9336724 w 12190414"/>
              <a:gd name="connsiteY11" fmla="*/ 2815491 h 4091720"/>
              <a:gd name="connsiteX12" fmla="*/ 9141154 w 12190414"/>
              <a:gd name="connsiteY12" fmla="*/ 2815491 h 4091720"/>
              <a:gd name="connsiteX13" fmla="*/ 8943837 w 12190414"/>
              <a:gd name="connsiteY13" fmla="*/ 2815490 h 4091720"/>
              <a:gd name="connsiteX14" fmla="*/ 8746521 w 12190414"/>
              <a:gd name="connsiteY14" fmla="*/ 2818983 h 4091720"/>
              <a:gd name="connsiteX15" fmla="*/ 8552697 w 12190414"/>
              <a:gd name="connsiteY15" fmla="*/ 2824222 h 4091720"/>
              <a:gd name="connsiteX16" fmla="*/ 8357128 w 12190414"/>
              <a:gd name="connsiteY16" fmla="*/ 2834698 h 4091720"/>
              <a:gd name="connsiteX17" fmla="*/ 8163303 w 12190414"/>
              <a:gd name="connsiteY17" fmla="*/ 2846921 h 4091720"/>
              <a:gd name="connsiteX18" fmla="*/ 7972972 w 12190414"/>
              <a:gd name="connsiteY18" fmla="*/ 2859145 h 4091720"/>
              <a:gd name="connsiteX19" fmla="*/ 7779149 w 12190414"/>
              <a:gd name="connsiteY19" fmla="*/ 2874859 h 4091720"/>
              <a:gd name="connsiteX20" fmla="*/ 7587072 w 12190414"/>
              <a:gd name="connsiteY20" fmla="*/ 2894067 h 4091720"/>
              <a:gd name="connsiteX21" fmla="*/ 7396738 w 12190414"/>
              <a:gd name="connsiteY21" fmla="*/ 2916767 h 4091720"/>
              <a:gd name="connsiteX22" fmla="*/ 7209903 w 12190414"/>
              <a:gd name="connsiteY22" fmla="*/ 2939467 h 4091720"/>
              <a:gd name="connsiteX23" fmla="*/ 7019571 w 12190414"/>
              <a:gd name="connsiteY23" fmla="*/ 2963914 h 4091720"/>
              <a:gd name="connsiteX24" fmla="*/ 6853019 w 12190414"/>
              <a:gd name="connsiteY24" fmla="*/ 2990375 h 4091720"/>
              <a:gd name="connsiteX25" fmla="*/ 6718666 w 12190414"/>
              <a:gd name="connsiteY25" fmla="*/ 3007621 h 4091720"/>
              <a:gd name="connsiteX26" fmla="*/ 6545441 w 12190414"/>
              <a:gd name="connsiteY26" fmla="*/ 3036818 h 4091720"/>
              <a:gd name="connsiteX27" fmla="*/ 6460798 w 12190414"/>
              <a:gd name="connsiteY27" fmla="*/ 3049476 h 4091720"/>
              <a:gd name="connsiteX28" fmla="*/ 6387367 w 12190414"/>
              <a:gd name="connsiteY28" fmla="*/ 3063463 h 4091720"/>
              <a:gd name="connsiteX29" fmla="*/ 6041160 w 12190414"/>
              <a:gd name="connsiteY29" fmla="*/ 3121817 h 4091720"/>
              <a:gd name="connsiteX30" fmla="*/ 5887321 w 12190414"/>
              <a:gd name="connsiteY30" fmla="*/ 3154128 h 4091720"/>
              <a:gd name="connsiteX31" fmla="*/ 5857713 w 12190414"/>
              <a:gd name="connsiteY31" fmla="*/ 3159114 h 4091720"/>
              <a:gd name="connsiteX32" fmla="*/ 1438219 w 12190414"/>
              <a:gd name="connsiteY32" fmla="*/ 3342543 h 4091720"/>
              <a:gd name="connsiteX33" fmla="*/ 1112913 w 12190414"/>
              <a:gd name="connsiteY33" fmla="*/ 3306016 h 4091720"/>
              <a:gd name="connsiteX34" fmla="*/ 1063194 w 12190414"/>
              <a:gd name="connsiteY34" fmla="*/ 3299629 h 4091720"/>
              <a:gd name="connsiteX35" fmla="*/ 750855 w 12190414"/>
              <a:gd name="connsiteY35" fmla="*/ 3254656 h 4091720"/>
              <a:gd name="connsiteX36" fmla="*/ 268553 w 12190414"/>
              <a:gd name="connsiteY36" fmla="*/ 3164159 h 4091720"/>
              <a:gd name="connsiteX37" fmla="*/ 1 w 12190414"/>
              <a:gd name="connsiteY37" fmla="*/ 3097699 h 4091720"/>
              <a:gd name="connsiteX38" fmla="*/ 0 w 12190414"/>
              <a:gd name="connsiteY38" fmla="*/ 4091720 h 4091720"/>
              <a:gd name="connsiteX39" fmla="*/ 0 w 12190414"/>
              <a:gd name="connsiteY39" fmla="*/ 4091720 h 4091720"/>
              <a:gd name="connsiteX0" fmla="*/ 0 w 12190414"/>
              <a:gd name="connsiteY0" fmla="*/ 0 h 4091720"/>
              <a:gd name="connsiteX1" fmla="*/ 12190414 w 12190414"/>
              <a:gd name="connsiteY1" fmla="*/ 0 h 4091720"/>
              <a:gd name="connsiteX2" fmla="*/ 12190414 w 12190414"/>
              <a:gd name="connsiteY2" fmla="*/ 4091720 h 4091720"/>
              <a:gd name="connsiteX3" fmla="*/ 12190412 w 12190414"/>
              <a:gd name="connsiteY3" fmla="*/ 3126461 h 4091720"/>
              <a:gd name="connsiteX4" fmla="*/ 12188206 w 12190414"/>
              <a:gd name="connsiteY4" fmla="*/ 3125947 h 4091720"/>
              <a:gd name="connsiteX5" fmla="*/ 12188206 w 12190414"/>
              <a:gd name="connsiteY5" fmla="*/ 3119322 h 4091720"/>
              <a:gd name="connsiteX6" fmla="*/ 12032390 w 12190414"/>
              <a:gd name="connsiteY6" fmla="*/ 3089644 h 4091720"/>
              <a:gd name="connsiteX7" fmla="*/ 11853287 w 12190414"/>
              <a:gd name="connsiteY7" fmla="*/ 3047916 h 4091720"/>
              <a:gd name="connsiteX8" fmla="*/ 9474399 w 12190414"/>
              <a:gd name="connsiteY8" fmla="*/ 2814918 h 4091720"/>
              <a:gd name="connsiteX9" fmla="*/ 9363219 w 12190414"/>
              <a:gd name="connsiteY9" fmla="*/ 2815959 h 4091720"/>
              <a:gd name="connsiteX10" fmla="*/ 9336724 w 12190414"/>
              <a:gd name="connsiteY10" fmla="*/ 2815491 h 4091720"/>
              <a:gd name="connsiteX11" fmla="*/ 9141154 w 12190414"/>
              <a:gd name="connsiteY11" fmla="*/ 2815491 h 4091720"/>
              <a:gd name="connsiteX12" fmla="*/ 8943837 w 12190414"/>
              <a:gd name="connsiteY12" fmla="*/ 2815490 h 4091720"/>
              <a:gd name="connsiteX13" fmla="*/ 8746521 w 12190414"/>
              <a:gd name="connsiteY13" fmla="*/ 2818983 h 4091720"/>
              <a:gd name="connsiteX14" fmla="*/ 8552697 w 12190414"/>
              <a:gd name="connsiteY14" fmla="*/ 2824222 h 4091720"/>
              <a:gd name="connsiteX15" fmla="*/ 8357128 w 12190414"/>
              <a:gd name="connsiteY15" fmla="*/ 2834698 h 4091720"/>
              <a:gd name="connsiteX16" fmla="*/ 8163303 w 12190414"/>
              <a:gd name="connsiteY16" fmla="*/ 2846921 h 4091720"/>
              <a:gd name="connsiteX17" fmla="*/ 7972972 w 12190414"/>
              <a:gd name="connsiteY17" fmla="*/ 2859145 h 4091720"/>
              <a:gd name="connsiteX18" fmla="*/ 7779149 w 12190414"/>
              <a:gd name="connsiteY18" fmla="*/ 2874859 h 4091720"/>
              <a:gd name="connsiteX19" fmla="*/ 7587072 w 12190414"/>
              <a:gd name="connsiteY19" fmla="*/ 2894067 h 4091720"/>
              <a:gd name="connsiteX20" fmla="*/ 7396738 w 12190414"/>
              <a:gd name="connsiteY20" fmla="*/ 2916767 h 4091720"/>
              <a:gd name="connsiteX21" fmla="*/ 7209903 w 12190414"/>
              <a:gd name="connsiteY21" fmla="*/ 2939467 h 4091720"/>
              <a:gd name="connsiteX22" fmla="*/ 7019571 w 12190414"/>
              <a:gd name="connsiteY22" fmla="*/ 2963914 h 4091720"/>
              <a:gd name="connsiteX23" fmla="*/ 6853019 w 12190414"/>
              <a:gd name="connsiteY23" fmla="*/ 2990375 h 4091720"/>
              <a:gd name="connsiteX24" fmla="*/ 6718666 w 12190414"/>
              <a:gd name="connsiteY24" fmla="*/ 3007621 h 4091720"/>
              <a:gd name="connsiteX25" fmla="*/ 6545441 w 12190414"/>
              <a:gd name="connsiteY25" fmla="*/ 3036818 h 4091720"/>
              <a:gd name="connsiteX26" fmla="*/ 6460798 w 12190414"/>
              <a:gd name="connsiteY26" fmla="*/ 3049476 h 4091720"/>
              <a:gd name="connsiteX27" fmla="*/ 6387367 w 12190414"/>
              <a:gd name="connsiteY27" fmla="*/ 3063463 h 4091720"/>
              <a:gd name="connsiteX28" fmla="*/ 6041160 w 12190414"/>
              <a:gd name="connsiteY28" fmla="*/ 3121817 h 4091720"/>
              <a:gd name="connsiteX29" fmla="*/ 5887321 w 12190414"/>
              <a:gd name="connsiteY29" fmla="*/ 3154128 h 4091720"/>
              <a:gd name="connsiteX30" fmla="*/ 5857713 w 12190414"/>
              <a:gd name="connsiteY30" fmla="*/ 3159114 h 4091720"/>
              <a:gd name="connsiteX31" fmla="*/ 1438219 w 12190414"/>
              <a:gd name="connsiteY31" fmla="*/ 3342543 h 4091720"/>
              <a:gd name="connsiteX32" fmla="*/ 1112913 w 12190414"/>
              <a:gd name="connsiteY32" fmla="*/ 3306016 h 4091720"/>
              <a:gd name="connsiteX33" fmla="*/ 1063194 w 12190414"/>
              <a:gd name="connsiteY33" fmla="*/ 3299629 h 4091720"/>
              <a:gd name="connsiteX34" fmla="*/ 750855 w 12190414"/>
              <a:gd name="connsiteY34" fmla="*/ 3254656 h 4091720"/>
              <a:gd name="connsiteX35" fmla="*/ 268553 w 12190414"/>
              <a:gd name="connsiteY35" fmla="*/ 3164159 h 4091720"/>
              <a:gd name="connsiteX36" fmla="*/ 1 w 12190414"/>
              <a:gd name="connsiteY36" fmla="*/ 3097699 h 4091720"/>
              <a:gd name="connsiteX37" fmla="*/ 0 w 12190414"/>
              <a:gd name="connsiteY37" fmla="*/ 4091720 h 4091720"/>
              <a:gd name="connsiteX38" fmla="*/ 0 w 12190414"/>
              <a:gd name="connsiteY38" fmla="*/ 4091720 h 4091720"/>
              <a:gd name="connsiteX39" fmla="*/ 0 w 12190414"/>
              <a:gd name="connsiteY39" fmla="*/ 0 h 4091720"/>
              <a:gd name="connsiteX0" fmla="*/ 0 w 12190414"/>
              <a:gd name="connsiteY0" fmla="*/ 0 h 4091720"/>
              <a:gd name="connsiteX1" fmla="*/ 12190414 w 12190414"/>
              <a:gd name="connsiteY1" fmla="*/ 0 h 4091720"/>
              <a:gd name="connsiteX2" fmla="*/ 12190412 w 12190414"/>
              <a:gd name="connsiteY2" fmla="*/ 3126461 h 4091720"/>
              <a:gd name="connsiteX3" fmla="*/ 12188206 w 12190414"/>
              <a:gd name="connsiteY3" fmla="*/ 3125947 h 4091720"/>
              <a:gd name="connsiteX4" fmla="*/ 12188206 w 12190414"/>
              <a:gd name="connsiteY4" fmla="*/ 3119322 h 4091720"/>
              <a:gd name="connsiteX5" fmla="*/ 12032390 w 12190414"/>
              <a:gd name="connsiteY5" fmla="*/ 3089644 h 4091720"/>
              <a:gd name="connsiteX6" fmla="*/ 11853287 w 12190414"/>
              <a:gd name="connsiteY6" fmla="*/ 3047916 h 4091720"/>
              <a:gd name="connsiteX7" fmla="*/ 9474399 w 12190414"/>
              <a:gd name="connsiteY7" fmla="*/ 2814918 h 4091720"/>
              <a:gd name="connsiteX8" fmla="*/ 9363219 w 12190414"/>
              <a:gd name="connsiteY8" fmla="*/ 2815959 h 4091720"/>
              <a:gd name="connsiteX9" fmla="*/ 9336724 w 12190414"/>
              <a:gd name="connsiteY9" fmla="*/ 2815491 h 4091720"/>
              <a:gd name="connsiteX10" fmla="*/ 9141154 w 12190414"/>
              <a:gd name="connsiteY10" fmla="*/ 2815491 h 4091720"/>
              <a:gd name="connsiteX11" fmla="*/ 8943837 w 12190414"/>
              <a:gd name="connsiteY11" fmla="*/ 2815490 h 4091720"/>
              <a:gd name="connsiteX12" fmla="*/ 8746521 w 12190414"/>
              <a:gd name="connsiteY12" fmla="*/ 2818983 h 4091720"/>
              <a:gd name="connsiteX13" fmla="*/ 8552697 w 12190414"/>
              <a:gd name="connsiteY13" fmla="*/ 2824222 h 4091720"/>
              <a:gd name="connsiteX14" fmla="*/ 8357128 w 12190414"/>
              <a:gd name="connsiteY14" fmla="*/ 2834698 h 4091720"/>
              <a:gd name="connsiteX15" fmla="*/ 8163303 w 12190414"/>
              <a:gd name="connsiteY15" fmla="*/ 2846921 h 4091720"/>
              <a:gd name="connsiteX16" fmla="*/ 7972972 w 12190414"/>
              <a:gd name="connsiteY16" fmla="*/ 2859145 h 4091720"/>
              <a:gd name="connsiteX17" fmla="*/ 7779149 w 12190414"/>
              <a:gd name="connsiteY17" fmla="*/ 2874859 h 4091720"/>
              <a:gd name="connsiteX18" fmla="*/ 7587072 w 12190414"/>
              <a:gd name="connsiteY18" fmla="*/ 2894067 h 4091720"/>
              <a:gd name="connsiteX19" fmla="*/ 7396738 w 12190414"/>
              <a:gd name="connsiteY19" fmla="*/ 2916767 h 4091720"/>
              <a:gd name="connsiteX20" fmla="*/ 7209903 w 12190414"/>
              <a:gd name="connsiteY20" fmla="*/ 2939467 h 4091720"/>
              <a:gd name="connsiteX21" fmla="*/ 7019571 w 12190414"/>
              <a:gd name="connsiteY21" fmla="*/ 2963914 h 4091720"/>
              <a:gd name="connsiteX22" fmla="*/ 6853019 w 12190414"/>
              <a:gd name="connsiteY22" fmla="*/ 2990375 h 4091720"/>
              <a:gd name="connsiteX23" fmla="*/ 6718666 w 12190414"/>
              <a:gd name="connsiteY23" fmla="*/ 3007621 h 4091720"/>
              <a:gd name="connsiteX24" fmla="*/ 6545441 w 12190414"/>
              <a:gd name="connsiteY24" fmla="*/ 3036818 h 4091720"/>
              <a:gd name="connsiteX25" fmla="*/ 6460798 w 12190414"/>
              <a:gd name="connsiteY25" fmla="*/ 3049476 h 4091720"/>
              <a:gd name="connsiteX26" fmla="*/ 6387367 w 12190414"/>
              <a:gd name="connsiteY26" fmla="*/ 3063463 h 4091720"/>
              <a:gd name="connsiteX27" fmla="*/ 6041160 w 12190414"/>
              <a:gd name="connsiteY27" fmla="*/ 3121817 h 4091720"/>
              <a:gd name="connsiteX28" fmla="*/ 5887321 w 12190414"/>
              <a:gd name="connsiteY28" fmla="*/ 3154128 h 4091720"/>
              <a:gd name="connsiteX29" fmla="*/ 5857713 w 12190414"/>
              <a:gd name="connsiteY29" fmla="*/ 3159114 h 4091720"/>
              <a:gd name="connsiteX30" fmla="*/ 1438219 w 12190414"/>
              <a:gd name="connsiteY30" fmla="*/ 3342543 h 4091720"/>
              <a:gd name="connsiteX31" fmla="*/ 1112913 w 12190414"/>
              <a:gd name="connsiteY31" fmla="*/ 3306016 h 4091720"/>
              <a:gd name="connsiteX32" fmla="*/ 1063194 w 12190414"/>
              <a:gd name="connsiteY32" fmla="*/ 3299629 h 4091720"/>
              <a:gd name="connsiteX33" fmla="*/ 750855 w 12190414"/>
              <a:gd name="connsiteY33" fmla="*/ 3254656 h 4091720"/>
              <a:gd name="connsiteX34" fmla="*/ 268553 w 12190414"/>
              <a:gd name="connsiteY34" fmla="*/ 3164159 h 4091720"/>
              <a:gd name="connsiteX35" fmla="*/ 1 w 12190414"/>
              <a:gd name="connsiteY35" fmla="*/ 3097699 h 4091720"/>
              <a:gd name="connsiteX36" fmla="*/ 0 w 12190414"/>
              <a:gd name="connsiteY36" fmla="*/ 4091720 h 4091720"/>
              <a:gd name="connsiteX37" fmla="*/ 0 w 12190414"/>
              <a:gd name="connsiteY37" fmla="*/ 4091720 h 4091720"/>
              <a:gd name="connsiteX38" fmla="*/ 0 w 12190414"/>
              <a:gd name="connsiteY38" fmla="*/ 0 h 4091720"/>
              <a:gd name="connsiteX0" fmla="*/ 0 w 12190414"/>
              <a:gd name="connsiteY0" fmla="*/ 0 h 4091720"/>
              <a:gd name="connsiteX1" fmla="*/ 12190414 w 12190414"/>
              <a:gd name="connsiteY1" fmla="*/ 0 h 4091720"/>
              <a:gd name="connsiteX2" fmla="*/ 12190412 w 12190414"/>
              <a:gd name="connsiteY2" fmla="*/ 3126461 h 4091720"/>
              <a:gd name="connsiteX3" fmla="*/ 12188206 w 12190414"/>
              <a:gd name="connsiteY3" fmla="*/ 3125947 h 4091720"/>
              <a:gd name="connsiteX4" fmla="*/ 12188206 w 12190414"/>
              <a:gd name="connsiteY4" fmla="*/ 3119322 h 4091720"/>
              <a:gd name="connsiteX5" fmla="*/ 12032390 w 12190414"/>
              <a:gd name="connsiteY5" fmla="*/ 3089644 h 4091720"/>
              <a:gd name="connsiteX6" fmla="*/ 11853287 w 12190414"/>
              <a:gd name="connsiteY6" fmla="*/ 3047916 h 4091720"/>
              <a:gd name="connsiteX7" fmla="*/ 9474399 w 12190414"/>
              <a:gd name="connsiteY7" fmla="*/ 2814918 h 4091720"/>
              <a:gd name="connsiteX8" fmla="*/ 9363219 w 12190414"/>
              <a:gd name="connsiteY8" fmla="*/ 2815959 h 4091720"/>
              <a:gd name="connsiteX9" fmla="*/ 9336724 w 12190414"/>
              <a:gd name="connsiteY9" fmla="*/ 2815491 h 4091720"/>
              <a:gd name="connsiteX10" fmla="*/ 9141154 w 12190414"/>
              <a:gd name="connsiteY10" fmla="*/ 2815491 h 4091720"/>
              <a:gd name="connsiteX11" fmla="*/ 8943837 w 12190414"/>
              <a:gd name="connsiteY11" fmla="*/ 2815490 h 4091720"/>
              <a:gd name="connsiteX12" fmla="*/ 8746521 w 12190414"/>
              <a:gd name="connsiteY12" fmla="*/ 2818983 h 4091720"/>
              <a:gd name="connsiteX13" fmla="*/ 8552697 w 12190414"/>
              <a:gd name="connsiteY13" fmla="*/ 2824222 h 4091720"/>
              <a:gd name="connsiteX14" fmla="*/ 8357128 w 12190414"/>
              <a:gd name="connsiteY14" fmla="*/ 2834698 h 4091720"/>
              <a:gd name="connsiteX15" fmla="*/ 8163303 w 12190414"/>
              <a:gd name="connsiteY15" fmla="*/ 2846921 h 4091720"/>
              <a:gd name="connsiteX16" fmla="*/ 7972972 w 12190414"/>
              <a:gd name="connsiteY16" fmla="*/ 2859145 h 4091720"/>
              <a:gd name="connsiteX17" fmla="*/ 7779149 w 12190414"/>
              <a:gd name="connsiteY17" fmla="*/ 2874859 h 4091720"/>
              <a:gd name="connsiteX18" fmla="*/ 7587072 w 12190414"/>
              <a:gd name="connsiteY18" fmla="*/ 2894067 h 4091720"/>
              <a:gd name="connsiteX19" fmla="*/ 7396738 w 12190414"/>
              <a:gd name="connsiteY19" fmla="*/ 2916767 h 4091720"/>
              <a:gd name="connsiteX20" fmla="*/ 7209903 w 12190414"/>
              <a:gd name="connsiteY20" fmla="*/ 2939467 h 4091720"/>
              <a:gd name="connsiteX21" fmla="*/ 7019571 w 12190414"/>
              <a:gd name="connsiteY21" fmla="*/ 2963914 h 4091720"/>
              <a:gd name="connsiteX22" fmla="*/ 6853019 w 12190414"/>
              <a:gd name="connsiteY22" fmla="*/ 2990375 h 4091720"/>
              <a:gd name="connsiteX23" fmla="*/ 6718666 w 12190414"/>
              <a:gd name="connsiteY23" fmla="*/ 3007621 h 4091720"/>
              <a:gd name="connsiteX24" fmla="*/ 6545441 w 12190414"/>
              <a:gd name="connsiteY24" fmla="*/ 3036818 h 4091720"/>
              <a:gd name="connsiteX25" fmla="*/ 6460798 w 12190414"/>
              <a:gd name="connsiteY25" fmla="*/ 3049476 h 4091720"/>
              <a:gd name="connsiteX26" fmla="*/ 6387367 w 12190414"/>
              <a:gd name="connsiteY26" fmla="*/ 3063463 h 4091720"/>
              <a:gd name="connsiteX27" fmla="*/ 6041160 w 12190414"/>
              <a:gd name="connsiteY27" fmla="*/ 3121817 h 4091720"/>
              <a:gd name="connsiteX28" fmla="*/ 5887321 w 12190414"/>
              <a:gd name="connsiteY28" fmla="*/ 3154128 h 4091720"/>
              <a:gd name="connsiteX29" fmla="*/ 5857713 w 12190414"/>
              <a:gd name="connsiteY29" fmla="*/ 3159114 h 4091720"/>
              <a:gd name="connsiteX30" fmla="*/ 1438219 w 12190414"/>
              <a:gd name="connsiteY30" fmla="*/ 3342543 h 4091720"/>
              <a:gd name="connsiteX31" fmla="*/ 1112913 w 12190414"/>
              <a:gd name="connsiteY31" fmla="*/ 3306016 h 4091720"/>
              <a:gd name="connsiteX32" fmla="*/ 1063194 w 12190414"/>
              <a:gd name="connsiteY32" fmla="*/ 3299629 h 4091720"/>
              <a:gd name="connsiteX33" fmla="*/ 750855 w 12190414"/>
              <a:gd name="connsiteY33" fmla="*/ 3254656 h 4091720"/>
              <a:gd name="connsiteX34" fmla="*/ 268553 w 12190414"/>
              <a:gd name="connsiteY34" fmla="*/ 3164159 h 4091720"/>
              <a:gd name="connsiteX35" fmla="*/ 1 w 12190414"/>
              <a:gd name="connsiteY35" fmla="*/ 3097699 h 4091720"/>
              <a:gd name="connsiteX36" fmla="*/ 0 w 12190414"/>
              <a:gd name="connsiteY36" fmla="*/ 4091720 h 4091720"/>
              <a:gd name="connsiteX37" fmla="*/ 0 w 12190414"/>
              <a:gd name="connsiteY37" fmla="*/ 0 h 4091720"/>
              <a:gd name="connsiteX0" fmla="*/ 913022 w 13103436"/>
              <a:gd name="connsiteY0" fmla="*/ 0 h 3406587"/>
              <a:gd name="connsiteX1" fmla="*/ 13103436 w 13103436"/>
              <a:gd name="connsiteY1" fmla="*/ 0 h 3406587"/>
              <a:gd name="connsiteX2" fmla="*/ 13103434 w 13103436"/>
              <a:gd name="connsiteY2" fmla="*/ 3126461 h 3406587"/>
              <a:gd name="connsiteX3" fmla="*/ 13101228 w 13103436"/>
              <a:gd name="connsiteY3" fmla="*/ 3125947 h 3406587"/>
              <a:gd name="connsiteX4" fmla="*/ 13101228 w 13103436"/>
              <a:gd name="connsiteY4" fmla="*/ 3119322 h 3406587"/>
              <a:gd name="connsiteX5" fmla="*/ 12945412 w 13103436"/>
              <a:gd name="connsiteY5" fmla="*/ 3089644 h 3406587"/>
              <a:gd name="connsiteX6" fmla="*/ 12766309 w 13103436"/>
              <a:gd name="connsiteY6" fmla="*/ 3047916 h 3406587"/>
              <a:gd name="connsiteX7" fmla="*/ 10387421 w 13103436"/>
              <a:gd name="connsiteY7" fmla="*/ 2814918 h 3406587"/>
              <a:gd name="connsiteX8" fmla="*/ 10276241 w 13103436"/>
              <a:gd name="connsiteY8" fmla="*/ 2815959 h 3406587"/>
              <a:gd name="connsiteX9" fmla="*/ 10249746 w 13103436"/>
              <a:gd name="connsiteY9" fmla="*/ 2815491 h 3406587"/>
              <a:gd name="connsiteX10" fmla="*/ 10054176 w 13103436"/>
              <a:gd name="connsiteY10" fmla="*/ 2815491 h 3406587"/>
              <a:gd name="connsiteX11" fmla="*/ 9856859 w 13103436"/>
              <a:gd name="connsiteY11" fmla="*/ 2815490 h 3406587"/>
              <a:gd name="connsiteX12" fmla="*/ 9659543 w 13103436"/>
              <a:gd name="connsiteY12" fmla="*/ 2818983 h 3406587"/>
              <a:gd name="connsiteX13" fmla="*/ 9465719 w 13103436"/>
              <a:gd name="connsiteY13" fmla="*/ 2824222 h 3406587"/>
              <a:gd name="connsiteX14" fmla="*/ 9270150 w 13103436"/>
              <a:gd name="connsiteY14" fmla="*/ 2834698 h 3406587"/>
              <a:gd name="connsiteX15" fmla="*/ 9076325 w 13103436"/>
              <a:gd name="connsiteY15" fmla="*/ 2846921 h 3406587"/>
              <a:gd name="connsiteX16" fmla="*/ 8885994 w 13103436"/>
              <a:gd name="connsiteY16" fmla="*/ 2859145 h 3406587"/>
              <a:gd name="connsiteX17" fmla="*/ 8692171 w 13103436"/>
              <a:gd name="connsiteY17" fmla="*/ 2874859 h 3406587"/>
              <a:gd name="connsiteX18" fmla="*/ 8500094 w 13103436"/>
              <a:gd name="connsiteY18" fmla="*/ 2894067 h 3406587"/>
              <a:gd name="connsiteX19" fmla="*/ 8309760 w 13103436"/>
              <a:gd name="connsiteY19" fmla="*/ 2916767 h 3406587"/>
              <a:gd name="connsiteX20" fmla="*/ 8122925 w 13103436"/>
              <a:gd name="connsiteY20" fmla="*/ 2939467 h 3406587"/>
              <a:gd name="connsiteX21" fmla="*/ 7932593 w 13103436"/>
              <a:gd name="connsiteY21" fmla="*/ 2963914 h 3406587"/>
              <a:gd name="connsiteX22" fmla="*/ 7766041 w 13103436"/>
              <a:gd name="connsiteY22" fmla="*/ 2990375 h 3406587"/>
              <a:gd name="connsiteX23" fmla="*/ 7631688 w 13103436"/>
              <a:gd name="connsiteY23" fmla="*/ 3007621 h 3406587"/>
              <a:gd name="connsiteX24" fmla="*/ 7458463 w 13103436"/>
              <a:gd name="connsiteY24" fmla="*/ 3036818 h 3406587"/>
              <a:gd name="connsiteX25" fmla="*/ 7373820 w 13103436"/>
              <a:gd name="connsiteY25" fmla="*/ 3049476 h 3406587"/>
              <a:gd name="connsiteX26" fmla="*/ 7300389 w 13103436"/>
              <a:gd name="connsiteY26" fmla="*/ 3063463 h 3406587"/>
              <a:gd name="connsiteX27" fmla="*/ 6954182 w 13103436"/>
              <a:gd name="connsiteY27" fmla="*/ 3121817 h 3406587"/>
              <a:gd name="connsiteX28" fmla="*/ 6800343 w 13103436"/>
              <a:gd name="connsiteY28" fmla="*/ 3154128 h 3406587"/>
              <a:gd name="connsiteX29" fmla="*/ 6770735 w 13103436"/>
              <a:gd name="connsiteY29" fmla="*/ 3159114 h 3406587"/>
              <a:gd name="connsiteX30" fmla="*/ 2351241 w 13103436"/>
              <a:gd name="connsiteY30" fmla="*/ 3342543 h 3406587"/>
              <a:gd name="connsiteX31" fmla="*/ 2025935 w 13103436"/>
              <a:gd name="connsiteY31" fmla="*/ 3306016 h 3406587"/>
              <a:gd name="connsiteX32" fmla="*/ 1976216 w 13103436"/>
              <a:gd name="connsiteY32" fmla="*/ 3299629 h 3406587"/>
              <a:gd name="connsiteX33" fmla="*/ 1663877 w 13103436"/>
              <a:gd name="connsiteY33" fmla="*/ 3254656 h 3406587"/>
              <a:gd name="connsiteX34" fmla="*/ 1181575 w 13103436"/>
              <a:gd name="connsiteY34" fmla="*/ 3164159 h 3406587"/>
              <a:gd name="connsiteX35" fmla="*/ 913023 w 13103436"/>
              <a:gd name="connsiteY35" fmla="*/ 3097699 h 3406587"/>
              <a:gd name="connsiteX36" fmla="*/ 913022 w 13103436"/>
              <a:gd name="connsiteY36" fmla="*/ 0 h 3406587"/>
              <a:gd name="connsiteX0" fmla="*/ 899291 w 13089705"/>
              <a:gd name="connsiteY0" fmla="*/ 0 h 3406587"/>
              <a:gd name="connsiteX1" fmla="*/ 13089705 w 13089705"/>
              <a:gd name="connsiteY1" fmla="*/ 0 h 3406587"/>
              <a:gd name="connsiteX2" fmla="*/ 13089703 w 13089705"/>
              <a:gd name="connsiteY2" fmla="*/ 3126461 h 3406587"/>
              <a:gd name="connsiteX3" fmla="*/ 13087497 w 13089705"/>
              <a:gd name="connsiteY3" fmla="*/ 3125947 h 3406587"/>
              <a:gd name="connsiteX4" fmla="*/ 13087497 w 13089705"/>
              <a:gd name="connsiteY4" fmla="*/ 3119322 h 3406587"/>
              <a:gd name="connsiteX5" fmla="*/ 12931681 w 13089705"/>
              <a:gd name="connsiteY5" fmla="*/ 3089644 h 3406587"/>
              <a:gd name="connsiteX6" fmla="*/ 12752578 w 13089705"/>
              <a:gd name="connsiteY6" fmla="*/ 3047916 h 3406587"/>
              <a:gd name="connsiteX7" fmla="*/ 10373690 w 13089705"/>
              <a:gd name="connsiteY7" fmla="*/ 2814918 h 3406587"/>
              <a:gd name="connsiteX8" fmla="*/ 10262510 w 13089705"/>
              <a:gd name="connsiteY8" fmla="*/ 2815959 h 3406587"/>
              <a:gd name="connsiteX9" fmla="*/ 10236015 w 13089705"/>
              <a:gd name="connsiteY9" fmla="*/ 2815491 h 3406587"/>
              <a:gd name="connsiteX10" fmla="*/ 10040445 w 13089705"/>
              <a:gd name="connsiteY10" fmla="*/ 2815491 h 3406587"/>
              <a:gd name="connsiteX11" fmla="*/ 9843128 w 13089705"/>
              <a:gd name="connsiteY11" fmla="*/ 2815490 h 3406587"/>
              <a:gd name="connsiteX12" fmla="*/ 9645812 w 13089705"/>
              <a:gd name="connsiteY12" fmla="*/ 2818983 h 3406587"/>
              <a:gd name="connsiteX13" fmla="*/ 9451988 w 13089705"/>
              <a:gd name="connsiteY13" fmla="*/ 2824222 h 3406587"/>
              <a:gd name="connsiteX14" fmla="*/ 9256419 w 13089705"/>
              <a:gd name="connsiteY14" fmla="*/ 2834698 h 3406587"/>
              <a:gd name="connsiteX15" fmla="*/ 9062594 w 13089705"/>
              <a:gd name="connsiteY15" fmla="*/ 2846921 h 3406587"/>
              <a:gd name="connsiteX16" fmla="*/ 8872263 w 13089705"/>
              <a:gd name="connsiteY16" fmla="*/ 2859145 h 3406587"/>
              <a:gd name="connsiteX17" fmla="*/ 8678440 w 13089705"/>
              <a:gd name="connsiteY17" fmla="*/ 2874859 h 3406587"/>
              <a:gd name="connsiteX18" fmla="*/ 8486363 w 13089705"/>
              <a:gd name="connsiteY18" fmla="*/ 2894067 h 3406587"/>
              <a:gd name="connsiteX19" fmla="*/ 8296029 w 13089705"/>
              <a:gd name="connsiteY19" fmla="*/ 2916767 h 3406587"/>
              <a:gd name="connsiteX20" fmla="*/ 8109194 w 13089705"/>
              <a:gd name="connsiteY20" fmla="*/ 2939467 h 3406587"/>
              <a:gd name="connsiteX21" fmla="*/ 7918862 w 13089705"/>
              <a:gd name="connsiteY21" fmla="*/ 2963914 h 3406587"/>
              <a:gd name="connsiteX22" fmla="*/ 7752310 w 13089705"/>
              <a:gd name="connsiteY22" fmla="*/ 2990375 h 3406587"/>
              <a:gd name="connsiteX23" fmla="*/ 7617957 w 13089705"/>
              <a:gd name="connsiteY23" fmla="*/ 3007621 h 3406587"/>
              <a:gd name="connsiteX24" fmla="*/ 7444732 w 13089705"/>
              <a:gd name="connsiteY24" fmla="*/ 3036818 h 3406587"/>
              <a:gd name="connsiteX25" fmla="*/ 7360089 w 13089705"/>
              <a:gd name="connsiteY25" fmla="*/ 3049476 h 3406587"/>
              <a:gd name="connsiteX26" fmla="*/ 7286658 w 13089705"/>
              <a:gd name="connsiteY26" fmla="*/ 3063463 h 3406587"/>
              <a:gd name="connsiteX27" fmla="*/ 6940451 w 13089705"/>
              <a:gd name="connsiteY27" fmla="*/ 3121817 h 3406587"/>
              <a:gd name="connsiteX28" fmla="*/ 6786612 w 13089705"/>
              <a:gd name="connsiteY28" fmla="*/ 3154128 h 3406587"/>
              <a:gd name="connsiteX29" fmla="*/ 6757004 w 13089705"/>
              <a:gd name="connsiteY29" fmla="*/ 3159114 h 3406587"/>
              <a:gd name="connsiteX30" fmla="*/ 2337510 w 13089705"/>
              <a:gd name="connsiteY30" fmla="*/ 3342543 h 3406587"/>
              <a:gd name="connsiteX31" fmla="*/ 2012204 w 13089705"/>
              <a:gd name="connsiteY31" fmla="*/ 3306016 h 3406587"/>
              <a:gd name="connsiteX32" fmla="*/ 1962485 w 13089705"/>
              <a:gd name="connsiteY32" fmla="*/ 3299629 h 3406587"/>
              <a:gd name="connsiteX33" fmla="*/ 1650146 w 13089705"/>
              <a:gd name="connsiteY33" fmla="*/ 3254656 h 3406587"/>
              <a:gd name="connsiteX34" fmla="*/ 1167844 w 13089705"/>
              <a:gd name="connsiteY34" fmla="*/ 3164159 h 3406587"/>
              <a:gd name="connsiteX35" fmla="*/ 899292 w 13089705"/>
              <a:gd name="connsiteY35" fmla="*/ 3097699 h 3406587"/>
              <a:gd name="connsiteX36" fmla="*/ 899291 w 13089705"/>
              <a:gd name="connsiteY36" fmla="*/ 0 h 3406587"/>
              <a:gd name="connsiteX0" fmla="*/ 6943 w 12197357"/>
              <a:gd name="connsiteY0" fmla="*/ 0 h 3406587"/>
              <a:gd name="connsiteX1" fmla="*/ 12197357 w 12197357"/>
              <a:gd name="connsiteY1" fmla="*/ 0 h 3406587"/>
              <a:gd name="connsiteX2" fmla="*/ 12197355 w 12197357"/>
              <a:gd name="connsiteY2" fmla="*/ 3126461 h 3406587"/>
              <a:gd name="connsiteX3" fmla="*/ 12195149 w 12197357"/>
              <a:gd name="connsiteY3" fmla="*/ 3125947 h 3406587"/>
              <a:gd name="connsiteX4" fmla="*/ 12195149 w 12197357"/>
              <a:gd name="connsiteY4" fmla="*/ 3119322 h 3406587"/>
              <a:gd name="connsiteX5" fmla="*/ 12039333 w 12197357"/>
              <a:gd name="connsiteY5" fmla="*/ 3089644 h 3406587"/>
              <a:gd name="connsiteX6" fmla="*/ 11860230 w 12197357"/>
              <a:gd name="connsiteY6" fmla="*/ 3047916 h 3406587"/>
              <a:gd name="connsiteX7" fmla="*/ 9481342 w 12197357"/>
              <a:gd name="connsiteY7" fmla="*/ 2814918 h 3406587"/>
              <a:gd name="connsiteX8" fmla="*/ 9370162 w 12197357"/>
              <a:gd name="connsiteY8" fmla="*/ 2815959 h 3406587"/>
              <a:gd name="connsiteX9" fmla="*/ 9343667 w 12197357"/>
              <a:gd name="connsiteY9" fmla="*/ 2815491 h 3406587"/>
              <a:gd name="connsiteX10" fmla="*/ 9148097 w 12197357"/>
              <a:gd name="connsiteY10" fmla="*/ 2815491 h 3406587"/>
              <a:gd name="connsiteX11" fmla="*/ 8950780 w 12197357"/>
              <a:gd name="connsiteY11" fmla="*/ 2815490 h 3406587"/>
              <a:gd name="connsiteX12" fmla="*/ 8753464 w 12197357"/>
              <a:gd name="connsiteY12" fmla="*/ 2818983 h 3406587"/>
              <a:gd name="connsiteX13" fmla="*/ 8559640 w 12197357"/>
              <a:gd name="connsiteY13" fmla="*/ 2824222 h 3406587"/>
              <a:gd name="connsiteX14" fmla="*/ 8364071 w 12197357"/>
              <a:gd name="connsiteY14" fmla="*/ 2834698 h 3406587"/>
              <a:gd name="connsiteX15" fmla="*/ 8170246 w 12197357"/>
              <a:gd name="connsiteY15" fmla="*/ 2846921 h 3406587"/>
              <a:gd name="connsiteX16" fmla="*/ 7979915 w 12197357"/>
              <a:gd name="connsiteY16" fmla="*/ 2859145 h 3406587"/>
              <a:gd name="connsiteX17" fmla="*/ 7786092 w 12197357"/>
              <a:gd name="connsiteY17" fmla="*/ 2874859 h 3406587"/>
              <a:gd name="connsiteX18" fmla="*/ 7594015 w 12197357"/>
              <a:gd name="connsiteY18" fmla="*/ 2894067 h 3406587"/>
              <a:gd name="connsiteX19" fmla="*/ 7403681 w 12197357"/>
              <a:gd name="connsiteY19" fmla="*/ 2916767 h 3406587"/>
              <a:gd name="connsiteX20" fmla="*/ 7216846 w 12197357"/>
              <a:gd name="connsiteY20" fmla="*/ 2939467 h 3406587"/>
              <a:gd name="connsiteX21" fmla="*/ 7026514 w 12197357"/>
              <a:gd name="connsiteY21" fmla="*/ 2963914 h 3406587"/>
              <a:gd name="connsiteX22" fmla="*/ 6859962 w 12197357"/>
              <a:gd name="connsiteY22" fmla="*/ 2990375 h 3406587"/>
              <a:gd name="connsiteX23" fmla="*/ 6725609 w 12197357"/>
              <a:gd name="connsiteY23" fmla="*/ 3007621 h 3406587"/>
              <a:gd name="connsiteX24" fmla="*/ 6552384 w 12197357"/>
              <a:gd name="connsiteY24" fmla="*/ 3036818 h 3406587"/>
              <a:gd name="connsiteX25" fmla="*/ 6467741 w 12197357"/>
              <a:gd name="connsiteY25" fmla="*/ 3049476 h 3406587"/>
              <a:gd name="connsiteX26" fmla="*/ 6394310 w 12197357"/>
              <a:gd name="connsiteY26" fmla="*/ 3063463 h 3406587"/>
              <a:gd name="connsiteX27" fmla="*/ 6048103 w 12197357"/>
              <a:gd name="connsiteY27" fmla="*/ 3121817 h 3406587"/>
              <a:gd name="connsiteX28" fmla="*/ 5894264 w 12197357"/>
              <a:gd name="connsiteY28" fmla="*/ 3154128 h 3406587"/>
              <a:gd name="connsiteX29" fmla="*/ 5864656 w 12197357"/>
              <a:gd name="connsiteY29" fmla="*/ 3159114 h 3406587"/>
              <a:gd name="connsiteX30" fmla="*/ 1445162 w 12197357"/>
              <a:gd name="connsiteY30" fmla="*/ 3342543 h 3406587"/>
              <a:gd name="connsiteX31" fmla="*/ 1119856 w 12197357"/>
              <a:gd name="connsiteY31" fmla="*/ 3306016 h 3406587"/>
              <a:gd name="connsiteX32" fmla="*/ 1070137 w 12197357"/>
              <a:gd name="connsiteY32" fmla="*/ 3299629 h 3406587"/>
              <a:gd name="connsiteX33" fmla="*/ 757798 w 12197357"/>
              <a:gd name="connsiteY33" fmla="*/ 3254656 h 3406587"/>
              <a:gd name="connsiteX34" fmla="*/ 275496 w 12197357"/>
              <a:gd name="connsiteY34" fmla="*/ 3164159 h 3406587"/>
              <a:gd name="connsiteX35" fmla="*/ 6944 w 12197357"/>
              <a:gd name="connsiteY35" fmla="*/ 3097699 h 3406587"/>
              <a:gd name="connsiteX36" fmla="*/ 6943 w 12197357"/>
              <a:gd name="connsiteY36" fmla="*/ 0 h 3406587"/>
              <a:gd name="connsiteX0" fmla="*/ 301 w 12190715"/>
              <a:gd name="connsiteY0" fmla="*/ 0 h 3406587"/>
              <a:gd name="connsiteX1" fmla="*/ 12190715 w 12190715"/>
              <a:gd name="connsiteY1" fmla="*/ 0 h 3406587"/>
              <a:gd name="connsiteX2" fmla="*/ 12190713 w 12190715"/>
              <a:gd name="connsiteY2" fmla="*/ 3126461 h 3406587"/>
              <a:gd name="connsiteX3" fmla="*/ 12188507 w 12190715"/>
              <a:gd name="connsiteY3" fmla="*/ 3125947 h 3406587"/>
              <a:gd name="connsiteX4" fmla="*/ 12188507 w 12190715"/>
              <a:gd name="connsiteY4" fmla="*/ 3119322 h 3406587"/>
              <a:gd name="connsiteX5" fmla="*/ 12032691 w 12190715"/>
              <a:gd name="connsiteY5" fmla="*/ 3089644 h 3406587"/>
              <a:gd name="connsiteX6" fmla="*/ 11853588 w 12190715"/>
              <a:gd name="connsiteY6" fmla="*/ 3047916 h 3406587"/>
              <a:gd name="connsiteX7" fmla="*/ 9474700 w 12190715"/>
              <a:gd name="connsiteY7" fmla="*/ 2814918 h 3406587"/>
              <a:gd name="connsiteX8" fmla="*/ 9363520 w 12190715"/>
              <a:gd name="connsiteY8" fmla="*/ 2815959 h 3406587"/>
              <a:gd name="connsiteX9" fmla="*/ 9337025 w 12190715"/>
              <a:gd name="connsiteY9" fmla="*/ 2815491 h 3406587"/>
              <a:gd name="connsiteX10" fmla="*/ 9141455 w 12190715"/>
              <a:gd name="connsiteY10" fmla="*/ 2815491 h 3406587"/>
              <a:gd name="connsiteX11" fmla="*/ 8944138 w 12190715"/>
              <a:gd name="connsiteY11" fmla="*/ 2815490 h 3406587"/>
              <a:gd name="connsiteX12" fmla="*/ 8746822 w 12190715"/>
              <a:gd name="connsiteY12" fmla="*/ 2818983 h 3406587"/>
              <a:gd name="connsiteX13" fmla="*/ 8552998 w 12190715"/>
              <a:gd name="connsiteY13" fmla="*/ 2824222 h 3406587"/>
              <a:gd name="connsiteX14" fmla="*/ 8357429 w 12190715"/>
              <a:gd name="connsiteY14" fmla="*/ 2834698 h 3406587"/>
              <a:gd name="connsiteX15" fmla="*/ 8163604 w 12190715"/>
              <a:gd name="connsiteY15" fmla="*/ 2846921 h 3406587"/>
              <a:gd name="connsiteX16" fmla="*/ 7973273 w 12190715"/>
              <a:gd name="connsiteY16" fmla="*/ 2859145 h 3406587"/>
              <a:gd name="connsiteX17" fmla="*/ 7779450 w 12190715"/>
              <a:gd name="connsiteY17" fmla="*/ 2874859 h 3406587"/>
              <a:gd name="connsiteX18" fmla="*/ 7587373 w 12190715"/>
              <a:gd name="connsiteY18" fmla="*/ 2894067 h 3406587"/>
              <a:gd name="connsiteX19" fmla="*/ 7397039 w 12190715"/>
              <a:gd name="connsiteY19" fmla="*/ 2916767 h 3406587"/>
              <a:gd name="connsiteX20" fmla="*/ 7210204 w 12190715"/>
              <a:gd name="connsiteY20" fmla="*/ 2939467 h 3406587"/>
              <a:gd name="connsiteX21" fmla="*/ 7019872 w 12190715"/>
              <a:gd name="connsiteY21" fmla="*/ 2963914 h 3406587"/>
              <a:gd name="connsiteX22" fmla="*/ 6853320 w 12190715"/>
              <a:gd name="connsiteY22" fmla="*/ 2990375 h 3406587"/>
              <a:gd name="connsiteX23" fmla="*/ 6718967 w 12190715"/>
              <a:gd name="connsiteY23" fmla="*/ 3007621 h 3406587"/>
              <a:gd name="connsiteX24" fmla="*/ 6545742 w 12190715"/>
              <a:gd name="connsiteY24" fmla="*/ 3036818 h 3406587"/>
              <a:gd name="connsiteX25" fmla="*/ 6461099 w 12190715"/>
              <a:gd name="connsiteY25" fmla="*/ 3049476 h 3406587"/>
              <a:gd name="connsiteX26" fmla="*/ 6387668 w 12190715"/>
              <a:gd name="connsiteY26" fmla="*/ 3063463 h 3406587"/>
              <a:gd name="connsiteX27" fmla="*/ 6041461 w 12190715"/>
              <a:gd name="connsiteY27" fmla="*/ 3121817 h 3406587"/>
              <a:gd name="connsiteX28" fmla="*/ 5887622 w 12190715"/>
              <a:gd name="connsiteY28" fmla="*/ 3154128 h 3406587"/>
              <a:gd name="connsiteX29" fmla="*/ 5858014 w 12190715"/>
              <a:gd name="connsiteY29" fmla="*/ 3159114 h 3406587"/>
              <a:gd name="connsiteX30" fmla="*/ 1438520 w 12190715"/>
              <a:gd name="connsiteY30" fmla="*/ 3342543 h 3406587"/>
              <a:gd name="connsiteX31" fmla="*/ 1113214 w 12190715"/>
              <a:gd name="connsiteY31" fmla="*/ 3306016 h 3406587"/>
              <a:gd name="connsiteX32" fmla="*/ 1063495 w 12190715"/>
              <a:gd name="connsiteY32" fmla="*/ 3299629 h 3406587"/>
              <a:gd name="connsiteX33" fmla="*/ 751156 w 12190715"/>
              <a:gd name="connsiteY33" fmla="*/ 3254656 h 3406587"/>
              <a:gd name="connsiteX34" fmla="*/ 268854 w 12190715"/>
              <a:gd name="connsiteY34" fmla="*/ 3164159 h 3406587"/>
              <a:gd name="connsiteX35" fmla="*/ 302 w 12190715"/>
              <a:gd name="connsiteY35" fmla="*/ 3097699 h 3406587"/>
              <a:gd name="connsiteX36" fmla="*/ 301 w 12190715"/>
              <a:gd name="connsiteY36" fmla="*/ 0 h 3406587"/>
              <a:gd name="connsiteX0" fmla="*/ 2899 w 12193313"/>
              <a:gd name="connsiteY0" fmla="*/ 0 h 3406587"/>
              <a:gd name="connsiteX1" fmla="*/ 12193313 w 12193313"/>
              <a:gd name="connsiteY1" fmla="*/ 0 h 3406587"/>
              <a:gd name="connsiteX2" fmla="*/ 12193311 w 12193313"/>
              <a:gd name="connsiteY2" fmla="*/ 3126461 h 3406587"/>
              <a:gd name="connsiteX3" fmla="*/ 12191105 w 12193313"/>
              <a:gd name="connsiteY3" fmla="*/ 3125947 h 3406587"/>
              <a:gd name="connsiteX4" fmla="*/ 12191105 w 12193313"/>
              <a:gd name="connsiteY4" fmla="*/ 3119322 h 3406587"/>
              <a:gd name="connsiteX5" fmla="*/ 12035289 w 12193313"/>
              <a:gd name="connsiteY5" fmla="*/ 3089644 h 3406587"/>
              <a:gd name="connsiteX6" fmla="*/ 11856186 w 12193313"/>
              <a:gd name="connsiteY6" fmla="*/ 3047916 h 3406587"/>
              <a:gd name="connsiteX7" fmla="*/ 9477298 w 12193313"/>
              <a:gd name="connsiteY7" fmla="*/ 2814918 h 3406587"/>
              <a:gd name="connsiteX8" fmla="*/ 9366118 w 12193313"/>
              <a:gd name="connsiteY8" fmla="*/ 2815959 h 3406587"/>
              <a:gd name="connsiteX9" fmla="*/ 9339623 w 12193313"/>
              <a:gd name="connsiteY9" fmla="*/ 2815491 h 3406587"/>
              <a:gd name="connsiteX10" fmla="*/ 9144053 w 12193313"/>
              <a:gd name="connsiteY10" fmla="*/ 2815491 h 3406587"/>
              <a:gd name="connsiteX11" fmla="*/ 8946736 w 12193313"/>
              <a:gd name="connsiteY11" fmla="*/ 2815490 h 3406587"/>
              <a:gd name="connsiteX12" fmla="*/ 8749420 w 12193313"/>
              <a:gd name="connsiteY12" fmla="*/ 2818983 h 3406587"/>
              <a:gd name="connsiteX13" fmla="*/ 8555596 w 12193313"/>
              <a:gd name="connsiteY13" fmla="*/ 2824222 h 3406587"/>
              <a:gd name="connsiteX14" fmla="*/ 8360027 w 12193313"/>
              <a:gd name="connsiteY14" fmla="*/ 2834698 h 3406587"/>
              <a:gd name="connsiteX15" fmla="*/ 8166202 w 12193313"/>
              <a:gd name="connsiteY15" fmla="*/ 2846921 h 3406587"/>
              <a:gd name="connsiteX16" fmla="*/ 7975871 w 12193313"/>
              <a:gd name="connsiteY16" fmla="*/ 2859145 h 3406587"/>
              <a:gd name="connsiteX17" fmla="*/ 7782048 w 12193313"/>
              <a:gd name="connsiteY17" fmla="*/ 2874859 h 3406587"/>
              <a:gd name="connsiteX18" fmla="*/ 7589971 w 12193313"/>
              <a:gd name="connsiteY18" fmla="*/ 2894067 h 3406587"/>
              <a:gd name="connsiteX19" fmla="*/ 7399637 w 12193313"/>
              <a:gd name="connsiteY19" fmla="*/ 2916767 h 3406587"/>
              <a:gd name="connsiteX20" fmla="*/ 7212802 w 12193313"/>
              <a:gd name="connsiteY20" fmla="*/ 2939467 h 3406587"/>
              <a:gd name="connsiteX21" fmla="*/ 7022470 w 12193313"/>
              <a:gd name="connsiteY21" fmla="*/ 2963914 h 3406587"/>
              <a:gd name="connsiteX22" fmla="*/ 6855918 w 12193313"/>
              <a:gd name="connsiteY22" fmla="*/ 2990375 h 3406587"/>
              <a:gd name="connsiteX23" fmla="*/ 6721565 w 12193313"/>
              <a:gd name="connsiteY23" fmla="*/ 3007621 h 3406587"/>
              <a:gd name="connsiteX24" fmla="*/ 6548340 w 12193313"/>
              <a:gd name="connsiteY24" fmla="*/ 3036818 h 3406587"/>
              <a:gd name="connsiteX25" fmla="*/ 6463697 w 12193313"/>
              <a:gd name="connsiteY25" fmla="*/ 3049476 h 3406587"/>
              <a:gd name="connsiteX26" fmla="*/ 6390266 w 12193313"/>
              <a:gd name="connsiteY26" fmla="*/ 3063463 h 3406587"/>
              <a:gd name="connsiteX27" fmla="*/ 6044059 w 12193313"/>
              <a:gd name="connsiteY27" fmla="*/ 3121817 h 3406587"/>
              <a:gd name="connsiteX28" fmla="*/ 5890220 w 12193313"/>
              <a:gd name="connsiteY28" fmla="*/ 3154128 h 3406587"/>
              <a:gd name="connsiteX29" fmla="*/ 5860612 w 12193313"/>
              <a:gd name="connsiteY29" fmla="*/ 3159114 h 3406587"/>
              <a:gd name="connsiteX30" fmla="*/ 1441118 w 12193313"/>
              <a:gd name="connsiteY30" fmla="*/ 3342543 h 3406587"/>
              <a:gd name="connsiteX31" fmla="*/ 1115812 w 12193313"/>
              <a:gd name="connsiteY31" fmla="*/ 3306016 h 3406587"/>
              <a:gd name="connsiteX32" fmla="*/ 1066093 w 12193313"/>
              <a:gd name="connsiteY32" fmla="*/ 3299629 h 3406587"/>
              <a:gd name="connsiteX33" fmla="*/ 753754 w 12193313"/>
              <a:gd name="connsiteY33" fmla="*/ 3254656 h 3406587"/>
              <a:gd name="connsiteX34" fmla="*/ 271452 w 12193313"/>
              <a:gd name="connsiteY34" fmla="*/ 3164159 h 3406587"/>
              <a:gd name="connsiteX35" fmla="*/ 2900 w 12193313"/>
              <a:gd name="connsiteY35" fmla="*/ 3097699 h 3406587"/>
              <a:gd name="connsiteX36" fmla="*/ 2899 w 12193313"/>
              <a:gd name="connsiteY36" fmla="*/ 0 h 3406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12193313" h="3406587">
                <a:moveTo>
                  <a:pt x="2899" y="0"/>
                </a:moveTo>
                <a:lnTo>
                  <a:pt x="12193313" y="0"/>
                </a:lnTo>
                <a:cubicBezTo>
                  <a:pt x="12193312" y="1042154"/>
                  <a:pt x="12193312" y="2084307"/>
                  <a:pt x="12193311" y="3126461"/>
                </a:cubicBezTo>
                <a:lnTo>
                  <a:pt x="12191105" y="3125947"/>
                </a:lnTo>
                <a:lnTo>
                  <a:pt x="12191105" y="3119322"/>
                </a:lnTo>
                <a:lnTo>
                  <a:pt x="12035289" y="3089644"/>
                </a:lnTo>
                <a:lnTo>
                  <a:pt x="11856186" y="3047916"/>
                </a:lnTo>
                <a:cubicBezTo>
                  <a:pt x="11154404" y="2905720"/>
                  <a:pt x="10348654" y="2824654"/>
                  <a:pt x="9477298" y="2814918"/>
                </a:cubicBezTo>
                <a:lnTo>
                  <a:pt x="9366118" y="2815959"/>
                </a:lnTo>
                <a:lnTo>
                  <a:pt x="9339623" y="2815491"/>
                </a:lnTo>
                <a:lnTo>
                  <a:pt x="9144053" y="2815491"/>
                </a:lnTo>
                <a:lnTo>
                  <a:pt x="8946736" y="2815490"/>
                </a:lnTo>
                <a:lnTo>
                  <a:pt x="8749420" y="2818983"/>
                </a:lnTo>
                <a:lnTo>
                  <a:pt x="8555596" y="2824222"/>
                </a:lnTo>
                <a:lnTo>
                  <a:pt x="8360027" y="2834698"/>
                </a:lnTo>
                <a:lnTo>
                  <a:pt x="8166202" y="2846921"/>
                </a:lnTo>
                <a:lnTo>
                  <a:pt x="7975871" y="2859145"/>
                </a:lnTo>
                <a:lnTo>
                  <a:pt x="7782048" y="2874859"/>
                </a:lnTo>
                <a:lnTo>
                  <a:pt x="7589971" y="2894067"/>
                </a:lnTo>
                <a:lnTo>
                  <a:pt x="7399637" y="2916767"/>
                </a:lnTo>
                <a:lnTo>
                  <a:pt x="7212802" y="2939467"/>
                </a:lnTo>
                <a:lnTo>
                  <a:pt x="7022470" y="2963914"/>
                </a:lnTo>
                <a:lnTo>
                  <a:pt x="6855918" y="2990375"/>
                </a:lnTo>
                <a:lnTo>
                  <a:pt x="6721565" y="3007621"/>
                </a:lnTo>
                <a:lnTo>
                  <a:pt x="6548340" y="3036818"/>
                </a:lnTo>
                <a:lnTo>
                  <a:pt x="6463697" y="3049476"/>
                </a:lnTo>
                <a:lnTo>
                  <a:pt x="6390266" y="3063463"/>
                </a:lnTo>
                <a:lnTo>
                  <a:pt x="6044059" y="3121817"/>
                </a:lnTo>
                <a:lnTo>
                  <a:pt x="5890220" y="3154128"/>
                </a:lnTo>
                <a:lnTo>
                  <a:pt x="5860612" y="3159114"/>
                </a:lnTo>
                <a:cubicBezTo>
                  <a:pt x="4274456" y="3407637"/>
                  <a:pt x="2744397" y="3469367"/>
                  <a:pt x="1441118" y="3342543"/>
                </a:cubicBezTo>
                <a:lnTo>
                  <a:pt x="1115812" y="3306016"/>
                </a:lnTo>
                <a:lnTo>
                  <a:pt x="1066093" y="3299629"/>
                </a:lnTo>
                <a:lnTo>
                  <a:pt x="753754" y="3254656"/>
                </a:lnTo>
                <a:cubicBezTo>
                  <a:pt x="588049" y="3228004"/>
                  <a:pt x="427136" y="3197840"/>
                  <a:pt x="271452" y="3164159"/>
                </a:cubicBezTo>
                <a:lnTo>
                  <a:pt x="2900" y="3097699"/>
                </a:lnTo>
                <a:cubicBezTo>
                  <a:pt x="-1818" y="3094475"/>
                  <a:pt x="-12" y="5108"/>
                  <a:pt x="2899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tIns="792000" anchor="ctr">
            <a:noAutofit/>
          </a:bodyPr>
          <a:lstStyle>
            <a:lvl1pPr marL="0" indent="0" algn="ctr">
              <a:buNone/>
              <a:defRPr/>
            </a:lvl1pPr>
            <a:lvl2pPr algn="ctr">
              <a:defRPr cap="none" baseline="0">
                <a:solidFill>
                  <a:schemeClr val="tx1"/>
                </a:solidFill>
              </a:defRPr>
            </a:lvl2pPr>
          </a:lstStyle>
          <a:p>
            <a:pPr lvl="1"/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550436" y="4797749"/>
            <a:ext cx="11088000" cy="115239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anose="05000000000000000000" pitchFamily="2" charset="2"/>
              <a:buNone/>
              <a:tabLst/>
              <a:defRPr sz="2000" cap="none" baseline="0">
                <a:solidFill>
                  <a:schemeClr val="tx2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Hier steht ein Untertitel 20pt</a:t>
            </a:r>
            <a:br>
              <a:rPr lang="de-DE" dirty="0"/>
            </a:br>
            <a:r>
              <a:rPr lang="de-DE" dirty="0"/>
              <a:t>Bild ändern wie folgt: „Grafik einfügen“</a:t>
            </a:r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839137" y="6179031"/>
            <a:ext cx="1800000" cy="450333"/>
          </a:xfrm>
          <a:prstGeom prst="rect">
            <a:avLst/>
          </a:prstGeom>
        </p:spPr>
      </p:pic>
      <p:sp>
        <p:nvSpPr>
          <p:cNvPr id="7" name="Datumsplatzhalter 6"/>
          <p:cNvSpPr>
            <a:spLocks noGrp="1"/>
          </p:cNvSpPr>
          <p:nvPr userDrawn="1">
            <p:ph type="dt" sz="half" idx="11"/>
          </p:nvPr>
        </p:nvSpPr>
        <p:spPr bwMode="gray"/>
        <p:txBody>
          <a:bodyPr/>
          <a:lstStyle/>
          <a:p>
            <a:fld id="{F384F577-291B-4F6C-A6AA-70E1E19AD20D}" type="datetime1">
              <a:rPr lang="de-DE" smtClean="0"/>
              <a:t>22.05.19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 userDrawn="1">
            <p:ph type="ftr" sz="quarter" idx="12"/>
          </p:nvPr>
        </p:nvSpPr>
        <p:spPr bwMode="gray"/>
        <p:txBody>
          <a:bodyPr/>
          <a:lstStyle/>
          <a:p>
            <a:r>
              <a:rPr lang="de-DE"/>
              <a:t>[Veranstaltungtitel] [Referent/Autor]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 userDrawn="1">
            <p:ph type="sldNum" sz="quarter" idx="13"/>
          </p:nvPr>
        </p:nvSpPr>
        <p:spPr bwMode="gray"/>
        <p:txBody>
          <a:bodyPr/>
          <a:lstStyle/>
          <a:p>
            <a:fld id="{4915BD61-E5D5-4E4F-ADA0-6F3448AB9FA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550436" y="3933974"/>
            <a:ext cx="11088687" cy="792000"/>
          </a:xfrm>
        </p:spPr>
        <p:txBody>
          <a:bodyPr/>
          <a:lstStyle>
            <a:lvl1pPr>
              <a:defRPr sz="3200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Hier steht eine sehr lange Headline 32pt</a:t>
            </a:r>
          </a:p>
        </p:txBody>
      </p:sp>
    </p:spTree>
    <p:extLst>
      <p:ext uri="{BB962C8B-B14F-4D97-AF65-F5344CB8AC3E}">
        <p14:creationId xmlns:p14="http://schemas.microsoft.com/office/powerpoint/2010/main" val="36904518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folie ohne 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gray">
          <a:xfrm>
            <a:off x="0" y="0"/>
            <a:ext cx="12190413" cy="59501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50436" y="3933864"/>
            <a:ext cx="11088687" cy="792000"/>
          </a:xfrm>
        </p:spPr>
        <p:txBody>
          <a:bodyPr/>
          <a:lstStyle>
            <a:lvl1pPr>
              <a:defRPr sz="3200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Variante ohne geeignetes Bildmaterial 32pt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50436" y="4798144"/>
            <a:ext cx="11088688" cy="1152000"/>
          </a:xfrm>
        </p:spPr>
        <p:txBody>
          <a:bodyPr/>
          <a:lstStyle>
            <a:lvl1pPr marL="0" indent="0" algn="l">
              <a:buNone/>
              <a:defRPr sz="2000" cap="none" baseline="0">
                <a:solidFill>
                  <a:schemeClr val="tx2"/>
                </a:solidFill>
              </a:defRPr>
            </a:lvl1pPr>
            <a:lvl2pPr marL="0" indent="0" algn="l"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Hier steht ein Untertitel 20pt</a:t>
            </a:r>
          </a:p>
          <a:p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839137" y="6179031"/>
            <a:ext cx="1800000" cy="450333"/>
          </a:xfrm>
          <a:prstGeom prst="rect">
            <a:avLst/>
          </a:prstGeom>
        </p:spPr>
      </p:pic>
      <p:sp>
        <p:nvSpPr>
          <p:cNvPr id="7" name="Datumsplatzhalter 6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9F8E403C-9F89-468D-91E3-7F4A4F126640}" type="datetime1">
              <a:rPr lang="de-DE" smtClean="0"/>
              <a:t>22.05.19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de-DE"/>
              <a:t>[Veranstaltungtitel] [Referent/Autor]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fld id="{4915BD61-E5D5-4E4F-ADA0-6F3448AB9FA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Freihandform 13"/>
          <p:cNvSpPr/>
          <p:nvPr userDrawn="1"/>
        </p:nvSpPr>
        <p:spPr bwMode="gray">
          <a:xfrm>
            <a:off x="-2899" y="0"/>
            <a:ext cx="12193313" cy="3097677"/>
          </a:xfrm>
          <a:custGeom>
            <a:avLst/>
            <a:gdLst>
              <a:gd name="connsiteX0" fmla="*/ 2899 w 12193313"/>
              <a:gd name="connsiteY0" fmla="*/ 0 h 3097677"/>
              <a:gd name="connsiteX1" fmla="*/ 12193313 w 12193313"/>
              <a:gd name="connsiteY1" fmla="*/ 0 h 3097677"/>
              <a:gd name="connsiteX2" fmla="*/ 12193312 w 12193313"/>
              <a:gd name="connsiteY2" fmla="*/ 1563231 h 3097677"/>
              <a:gd name="connsiteX3" fmla="*/ 12193312 w 12193313"/>
              <a:gd name="connsiteY3" fmla="*/ 1 h 3097677"/>
              <a:gd name="connsiteX4" fmla="*/ 2899 w 12193313"/>
              <a:gd name="connsiteY4" fmla="*/ 1 h 3097677"/>
              <a:gd name="connsiteX5" fmla="*/ 2899 w 12193313"/>
              <a:gd name="connsiteY5" fmla="*/ 3097677 h 3097677"/>
              <a:gd name="connsiteX6" fmla="*/ 2477 w 12193313"/>
              <a:gd name="connsiteY6" fmla="*/ 3088544 h 3097677"/>
              <a:gd name="connsiteX7" fmla="*/ 2899 w 12193313"/>
              <a:gd name="connsiteY7" fmla="*/ 0 h 30976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3313" h="3097677">
                <a:moveTo>
                  <a:pt x="2899" y="0"/>
                </a:moveTo>
                <a:lnTo>
                  <a:pt x="12193313" y="0"/>
                </a:lnTo>
                <a:lnTo>
                  <a:pt x="12193312" y="1563231"/>
                </a:lnTo>
                <a:lnTo>
                  <a:pt x="12193312" y="1"/>
                </a:lnTo>
                <a:lnTo>
                  <a:pt x="2899" y="1"/>
                </a:lnTo>
                <a:lnTo>
                  <a:pt x="2899" y="3097677"/>
                </a:lnTo>
                <a:lnTo>
                  <a:pt x="2477" y="3088544"/>
                </a:lnTo>
                <a:cubicBezTo>
                  <a:pt x="-1704" y="2904402"/>
                  <a:pt x="79" y="4948"/>
                  <a:pt x="2899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6" name="Freihandform 15"/>
          <p:cNvSpPr/>
          <p:nvPr userDrawn="1"/>
        </p:nvSpPr>
        <p:spPr bwMode="gray">
          <a:xfrm>
            <a:off x="0" y="0"/>
            <a:ext cx="12190413" cy="3406586"/>
          </a:xfrm>
          <a:custGeom>
            <a:avLst/>
            <a:gdLst>
              <a:gd name="connsiteX0" fmla="*/ 0 w 12190413"/>
              <a:gd name="connsiteY0" fmla="*/ 0 h 3406586"/>
              <a:gd name="connsiteX1" fmla="*/ 12190413 w 12190413"/>
              <a:gd name="connsiteY1" fmla="*/ 0 h 3406586"/>
              <a:gd name="connsiteX2" fmla="*/ 12190413 w 12190413"/>
              <a:gd name="connsiteY2" fmla="*/ 1563230 h 3406586"/>
              <a:gd name="connsiteX3" fmla="*/ 12190412 w 12190413"/>
              <a:gd name="connsiteY3" fmla="*/ 3126460 h 3406586"/>
              <a:gd name="connsiteX4" fmla="*/ 12188206 w 12190413"/>
              <a:gd name="connsiteY4" fmla="*/ 3125946 h 3406586"/>
              <a:gd name="connsiteX5" fmla="*/ 12188206 w 12190413"/>
              <a:gd name="connsiteY5" fmla="*/ 3119321 h 3406586"/>
              <a:gd name="connsiteX6" fmla="*/ 12032390 w 12190413"/>
              <a:gd name="connsiteY6" fmla="*/ 3089643 h 3406586"/>
              <a:gd name="connsiteX7" fmla="*/ 11853287 w 12190413"/>
              <a:gd name="connsiteY7" fmla="*/ 3047915 h 3406586"/>
              <a:gd name="connsiteX8" fmla="*/ 9474399 w 12190413"/>
              <a:gd name="connsiteY8" fmla="*/ 2814917 h 3406586"/>
              <a:gd name="connsiteX9" fmla="*/ 9363219 w 12190413"/>
              <a:gd name="connsiteY9" fmla="*/ 2815958 h 3406586"/>
              <a:gd name="connsiteX10" fmla="*/ 9336724 w 12190413"/>
              <a:gd name="connsiteY10" fmla="*/ 2815490 h 3406586"/>
              <a:gd name="connsiteX11" fmla="*/ 9141154 w 12190413"/>
              <a:gd name="connsiteY11" fmla="*/ 2815490 h 3406586"/>
              <a:gd name="connsiteX12" fmla="*/ 8943837 w 12190413"/>
              <a:gd name="connsiteY12" fmla="*/ 2815489 h 3406586"/>
              <a:gd name="connsiteX13" fmla="*/ 8746521 w 12190413"/>
              <a:gd name="connsiteY13" fmla="*/ 2818982 h 3406586"/>
              <a:gd name="connsiteX14" fmla="*/ 8552697 w 12190413"/>
              <a:gd name="connsiteY14" fmla="*/ 2824221 h 3406586"/>
              <a:gd name="connsiteX15" fmla="*/ 8357128 w 12190413"/>
              <a:gd name="connsiteY15" fmla="*/ 2834697 h 3406586"/>
              <a:gd name="connsiteX16" fmla="*/ 8163303 w 12190413"/>
              <a:gd name="connsiteY16" fmla="*/ 2846920 h 3406586"/>
              <a:gd name="connsiteX17" fmla="*/ 7972972 w 12190413"/>
              <a:gd name="connsiteY17" fmla="*/ 2859144 h 3406586"/>
              <a:gd name="connsiteX18" fmla="*/ 7779149 w 12190413"/>
              <a:gd name="connsiteY18" fmla="*/ 2874858 h 3406586"/>
              <a:gd name="connsiteX19" fmla="*/ 7587072 w 12190413"/>
              <a:gd name="connsiteY19" fmla="*/ 2894066 h 3406586"/>
              <a:gd name="connsiteX20" fmla="*/ 7396738 w 12190413"/>
              <a:gd name="connsiteY20" fmla="*/ 2916766 h 3406586"/>
              <a:gd name="connsiteX21" fmla="*/ 7209903 w 12190413"/>
              <a:gd name="connsiteY21" fmla="*/ 2939466 h 3406586"/>
              <a:gd name="connsiteX22" fmla="*/ 7019571 w 12190413"/>
              <a:gd name="connsiteY22" fmla="*/ 2963913 h 3406586"/>
              <a:gd name="connsiteX23" fmla="*/ 6853019 w 12190413"/>
              <a:gd name="connsiteY23" fmla="*/ 2990374 h 3406586"/>
              <a:gd name="connsiteX24" fmla="*/ 6718666 w 12190413"/>
              <a:gd name="connsiteY24" fmla="*/ 3007620 h 3406586"/>
              <a:gd name="connsiteX25" fmla="*/ 6545441 w 12190413"/>
              <a:gd name="connsiteY25" fmla="*/ 3036817 h 3406586"/>
              <a:gd name="connsiteX26" fmla="*/ 6460798 w 12190413"/>
              <a:gd name="connsiteY26" fmla="*/ 3049475 h 3406586"/>
              <a:gd name="connsiteX27" fmla="*/ 6387367 w 12190413"/>
              <a:gd name="connsiteY27" fmla="*/ 3063462 h 3406586"/>
              <a:gd name="connsiteX28" fmla="*/ 6041160 w 12190413"/>
              <a:gd name="connsiteY28" fmla="*/ 3121816 h 3406586"/>
              <a:gd name="connsiteX29" fmla="*/ 5887321 w 12190413"/>
              <a:gd name="connsiteY29" fmla="*/ 3154127 h 3406586"/>
              <a:gd name="connsiteX30" fmla="*/ 5857713 w 12190413"/>
              <a:gd name="connsiteY30" fmla="*/ 3159113 h 3406586"/>
              <a:gd name="connsiteX31" fmla="*/ 1438219 w 12190413"/>
              <a:gd name="connsiteY31" fmla="*/ 3342542 h 3406586"/>
              <a:gd name="connsiteX32" fmla="*/ 1112913 w 12190413"/>
              <a:gd name="connsiteY32" fmla="*/ 3306015 h 3406586"/>
              <a:gd name="connsiteX33" fmla="*/ 1063194 w 12190413"/>
              <a:gd name="connsiteY33" fmla="*/ 3299628 h 3406586"/>
              <a:gd name="connsiteX34" fmla="*/ 750855 w 12190413"/>
              <a:gd name="connsiteY34" fmla="*/ 3254655 h 3406586"/>
              <a:gd name="connsiteX35" fmla="*/ 268553 w 12190413"/>
              <a:gd name="connsiteY35" fmla="*/ 3164158 h 3406586"/>
              <a:gd name="connsiteX36" fmla="*/ 1 w 12190413"/>
              <a:gd name="connsiteY36" fmla="*/ 3097698 h 3406586"/>
              <a:gd name="connsiteX37" fmla="*/ 0 w 12190413"/>
              <a:gd name="connsiteY37" fmla="*/ 3097676 h 3406586"/>
              <a:gd name="connsiteX38" fmla="*/ 0 w 12190413"/>
              <a:gd name="connsiteY38" fmla="*/ 0 h 3406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12190413" h="3406586">
                <a:moveTo>
                  <a:pt x="0" y="0"/>
                </a:moveTo>
                <a:lnTo>
                  <a:pt x="12190413" y="0"/>
                </a:lnTo>
                <a:lnTo>
                  <a:pt x="12190413" y="1563230"/>
                </a:lnTo>
                <a:lnTo>
                  <a:pt x="12190412" y="3126460"/>
                </a:lnTo>
                <a:lnTo>
                  <a:pt x="12188206" y="3125946"/>
                </a:lnTo>
                <a:lnTo>
                  <a:pt x="12188206" y="3119321"/>
                </a:lnTo>
                <a:lnTo>
                  <a:pt x="12032390" y="3089643"/>
                </a:lnTo>
                <a:lnTo>
                  <a:pt x="11853287" y="3047915"/>
                </a:lnTo>
                <a:cubicBezTo>
                  <a:pt x="11151505" y="2905719"/>
                  <a:pt x="10345755" y="2824653"/>
                  <a:pt x="9474399" y="2814917"/>
                </a:cubicBezTo>
                <a:lnTo>
                  <a:pt x="9363219" y="2815958"/>
                </a:lnTo>
                <a:lnTo>
                  <a:pt x="9336724" y="2815490"/>
                </a:lnTo>
                <a:lnTo>
                  <a:pt x="9141154" y="2815490"/>
                </a:lnTo>
                <a:lnTo>
                  <a:pt x="8943837" y="2815489"/>
                </a:lnTo>
                <a:lnTo>
                  <a:pt x="8746521" y="2818982"/>
                </a:lnTo>
                <a:lnTo>
                  <a:pt x="8552697" y="2824221"/>
                </a:lnTo>
                <a:lnTo>
                  <a:pt x="8357128" y="2834697"/>
                </a:lnTo>
                <a:lnTo>
                  <a:pt x="8163303" y="2846920"/>
                </a:lnTo>
                <a:lnTo>
                  <a:pt x="7972972" y="2859144"/>
                </a:lnTo>
                <a:lnTo>
                  <a:pt x="7779149" y="2874858"/>
                </a:lnTo>
                <a:lnTo>
                  <a:pt x="7587072" y="2894066"/>
                </a:lnTo>
                <a:lnTo>
                  <a:pt x="7396738" y="2916766"/>
                </a:lnTo>
                <a:lnTo>
                  <a:pt x="7209903" y="2939466"/>
                </a:lnTo>
                <a:lnTo>
                  <a:pt x="7019571" y="2963913"/>
                </a:lnTo>
                <a:lnTo>
                  <a:pt x="6853019" y="2990374"/>
                </a:lnTo>
                <a:lnTo>
                  <a:pt x="6718666" y="3007620"/>
                </a:lnTo>
                <a:lnTo>
                  <a:pt x="6545441" y="3036817"/>
                </a:lnTo>
                <a:lnTo>
                  <a:pt x="6460798" y="3049475"/>
                </a:lnTo>
                <a:lnTo>
                  <a:pt x="6387367" y="3063462"/>
                </a:lnTo>
                <a:lnTo>
                  <a:pt x="6041160" y="3121816"/>
                </a:lnTo>
                <a:lnTo>
                  <a:pt x="5887321" y="3154127"/>
                </a:lnTo>
                <a:lnTo>
                  <a:pt x="5857713" y="3159113"/>
                </a:lnTo>
                <a:cubicBezTo>
                  <a:pt x="4271557" y="3407636"/>
                  <a:pt x="2741498" y="3469366"/>
                  <a:pt x="1438219" y="3342542"/>
                </a:cubicBezTo>
                <a:lnTo>
                  <a:pt x="1112913" y="3306015"/>
                </a:lnTo>
                <a:lnTo>
                  <a:pt x="1063194" y="3299628"/>
                </a:lnTo>
                <a:lnTo>
                  <a:pt x="750855" y="3254655"/>
                </a:lnTo>
                <a:cubicBezTo>
                  <a:pt x="585150" y="3228003"/>
                  <a:pt x="424237" y="3197839"/>
                  <a:pt x="268553" y="3164158"/>
                </a:cubicBezTo>
                <a:lnTo>
                  <a:pt x="1" y="3097698"/>
                </a:lnTo>
                <a:lnTo>
                  <a:pt x="0" y="309767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612920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folie Weiß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-1" y="1240"/>
            <a:ext cx="12192621" cy="6858348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51976" y="3933864"/>
            <a:ext cx="11088000" cy="792000"/>
          </a:xfrm>
        </p:spPr>
        <p:txBody>
          <a:bodyPr/>
          <a:lstStyle>
            <a:lvl1pPr>
              <a:defRPr sz="3200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Variante »weiß« für interne Präsentationen 32pt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50436" y="4797749"/>
            <a:ext cx="11088000" cy="1152395"/>
          </a:xfrm>
        </p:spPr>
        <p:txBody>
          <a:bodyPr/>
          <a:lstStyle>
            <a:lvl1pPr marL="0" indent="0" algn="l">
              <a:buNone/>
              <a:defRPr sz="2000" cap="none" baseline="0">
                <a:solidFill>
                  <a:schemeClr val="tx2"/>
                </a:solidFill>
              </a:defRPr>
            </a:lvl1pPr>
            <a:lvl2pPr marL="0" indent="0" algn="l"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Hier steht ein Untertitel 20pt</a:t>
            </a:r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839137" y="6179031"/>
            <a:ext cx="1800000" cy="450333"/>
          </a:xfrm>
          <a:prstGeom prst="rect">
            <a:avLst/>
          </a:prstGeom>
        </p:spPr>
      </p:pic>
      <p:sp>
        <p:nvSpPr>
          <p:cNvPr id="7" name="Datumsplatzhalter 6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943F654-B61A-482E-BC7B-05B823768F67}" type="datetime1">
              <a:rPr lang="de-DE" smtClean="0"/>
              <a:t>22.05.19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de-DE"/>
              <a:t>[Veranstaltungtitel] [Referent/Autor]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fld id="{4915BD61-E5D5-4E4F-ADA0-6F3448AB9FA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63184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764A3D7-DB5B-4BC8-8435-20C64E6BE645}" type="datetime1">
              <a:rPr lang="de-DE" smtClean="0"/>
              <a:t>22.05.19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[Veranstaltungtitel] [Referent/Autor]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4915BD61-E5D5-4E4F-ADA0-6F3448AB9FA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0863" y="982286"/>
            <a:ext cx="11088687" cy="503238"/>
          </a:xfrm>
        </p:spPr>
        <p:txBody>
          <a:bodyPr/>
          <a:lstStyle>
            <a:lvl1pPr marL="0" indent="0">
              <a:buNone/>
              <a:defRPr sz="1800" cap="none" baseline="0">
                <a:solidFill>
                  <a:schemeClr val="tx2"/>
                </a:solidFill>
              </a:defRPr>
            </a:lvl1pPr>
            <a:lvl2pPr marL="0" indent="0">
              <a:buNone/>
              <a:defRPr sz="1800">
                <a:solidFill>
                  <a:schemeClr val="tx2"/>
                </a:solidFill>
              </a:defRPr>
            </a:lvl2pPr>
            <a:lvl3pPr marL="0" indent="0">
              <a:buNone/>
              <a:defRPr sz="1800">
                <a:solidFill>
                  <a:schemeClr val="tx2"/>
                </a:solidFill>
              </a:defRPr>
            </a:lvl3pPr>
            <a:lvl4pPr marL="0" indent="0">
              <a:buNone/>
              <a:defRPr sz="1800">
                <a:solidFill>
                  <a:schemeClr val="tx2"/>
                </a:solidFill>
              </a:defRPr>
            </a:lvl4pPr>
            <a:lvl5pPr marL="0" indent="0">
              <a:buNone/>
              <a:defRPr sz="1800">
                <a:solidFill>
                  <a:schemeClr val="tx2"/>
                </a:solidFill>
              </a:defRPr>
            </a:lvl5pPr>
            <a:lvl6pPr marL="0" indent="0">
              <a:buNone/>
              <a:defRPr sz="1800">
                <a:solidFill>
                  <a:schemeClr val="tx2"/>
                </a:solidFill>
              </a:defRPr>
            </a:lvl6pPr>
            <a:lvl7pPr marL="0" indent="0">
              <a:buNone/>
              <a:defRPr sz="1800">
                <a:solidFill>
                  <a:schemeClr val="tx2"/>
                </a:solidFill>
              </a:defRPr>
            </a:lvl7pPr>
            <a:lvl8pPr marL="0" indent="0">
              <a:buNone/>
              <a:defRPr sz="1800">
                <a:solidFill>
                  <a:schemeClr val="tx2"/>
                </a:solidFill>
              </a:defRPr>
            </a:lvl8pPr>
            <a:lvl9pPr marL="0" indent="0">
              <a:buNone/>
              <a:defRPr sz="18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40425353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Übersi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550436" y="405374"/>
            <a:ext cx="11088688" cy="432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Agenda Übersicht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6D78B8F-085D-4FA6-94DB-CED2D02636DA}" type="datetime1">
              <a:rPr lang="de-DE" smtClean="0"/>
              <a:t>22.05.19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[Veranstaltungtitel] [Referent/Autor]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4915BD61-E5D5-4E4F-ADA0-6F3448AB9FA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abellenplatzhalter 9"/>
          <p:cNvSpPr>
            <a:spLocks noGrp="1"/>
          </p:cNvSpPr>
          <p:nvPr>
            <p:ph type="tbl" sz="quarter" idx="13" hasCustomPrompt="1"/>
          </p:nvPr>
        </p:nvSpPr>
        <p:spPr bwMode="gray">
          <a:xfrm>
            <a:off x="551288" y="1269494"/>
            <a:ext cx="11088688" cy="4680000"/>
          </a:xfrm>
        </p:spPr>
        <p:txBody>
          <a:bodyPr/>
          <a:lstStyle>
            <a:lvl1pPr>
              <a:defRPr cap="none" baseline="0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313332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550436" y="405374"/>
            <a:ext cx="11087100" cy="432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e-DE" dirty="0"/>
              <a:t>Statement Foli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3A10074-5EAC-4D4B-8559-81547282EE53}" type="datetime1">
              <a:rPr lang="de-DE" smtClean="0"/>
              <a:t>22.05.19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[Veranstaltungtitel] [Referent/Autor]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4915BD61-E5D5-4E4F-ADA0-6F3448AB9FA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0436" y="1270144"/>
            <a:ext cx="11088000" cy="4680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4800" cap="none" baseline="0">
                <a:solidFill>
                  <a:schemeClr val="tx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4800">
                <a:solidFill>
                  <a:schemeClr val="tx2"/>
                </a:solidFill>
              </a:defRPr>
            </a:lvl2pPr>
            <a:lvl3pPr marL="0" indent="0">
              <a:buNone/>
              <a:defRPr sz="4800">
                <a:solidFill>
                  <a:schemeClr val="tx2"/>
                </a:solidFill>
              </a:defRPr>
            </a:lvl3pPr>
            <a:lvl4pPr marL="0" indent="0">
              <a:buNone/>
              <a:defRPr sz="4800">
                <a:solidFill>
                  <a:schemeClr val="tx2"/>
                </a:solidFill>
              </a:defRPr>
            </a:lvl4pPr>
            <a:lvl5pPr marL="0" indent="0">
              <a:buNone/>
              <a:defRPr sz="4800">
                <a:solidFill>
                  <a:schemeClr val="tx2"/>
                </a:solidFill>
              </a:defRPr>
            </a:lvl5pPr>
            <a:lvl6pPr marL="0" indent="0">
              <a:buNone/>
              <a:defRPr sz="4800">
                <a:solidFill>
                  <a:schemeClr val="tx2"/>
                </a:solidFill>
              </a:defRPr>
            </a:lvl6pPr>
            <a:lvl7pPr marL="0" indent="0">
              <a:buNone/>
              <a:defRPr sz="4800">
                <a:solidFill>
                  <a:schemeClr val="tx2"/>
                </a:solidFill>
              </a:defRPr>
            </a:lvl7pPr>
            <a:lvl8pPr marL="0" indent="0">
              <a:buNone/>
              <a:defRPr sz="4800">
                <a:solidFill>
                  <a:schemeClr val="tx2"/>
                </a:solidFill>
              </a:defRPr>
            </a:lvl8pPr>
            <a:lvl9pPr marL="0" indent="0">
              <a:buNone/>
              <a:defRPr sz="48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»Wer heute nicht die Lösungen der Zukunft sucht, ist morgen schon von gestern.«</a:t>
            </a:r>
          </a:p>
        </p:txBody>
      </p:sp>
    </p:spTree>
    <p:extLst>
      <p:ext uri="{BB962C8B-B14F-4D97-AF65-F5344CB8AC3E}">
        <p14:creationId xmlns:p14="http://schemas.microsoft.com/office/powerpoint/2010/main" val="21639544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theme" Target="../theme/theme1.xml"/><Relationship Id="rId23" Type="http://schemas.openxmlformats.org/officeDocument/2006/relationships/vmlDrawing" Target="../drawings/vmlDrawing1.vml"/><Relationship Id="rId24" Type="http://schemas.openxmlformats.org/officeDocument/2006/relationships/tags" Target="../tags/tag2.xml"/><Relationship Id="rId25" Type="http://schemas.openxmlformats.org/officeDocument/2006/relationships/tags" Target="../tags/tag3.xml"/><Relationship Id="rId26" Type="http://schemas.openxmlformats.org/officeDocument/2006/relationships/tags" Target="../tags/tag4.xml"/><Relationship Id="rId27" Type="http://schemas.openxmlformats.org/officeDocument/2006/relationships/tags" Target="../tags/tag5.xml"/><Relationship Id="rId28" Type="http://schemas.openxmlformats.org/officeDocument/2006/relationships/oleObject" Target="../embeddings/oleObject1.bin"/><Relationship Id="rId29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9046272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Folie" r:id="rId28" imgW="270" imgH="270" progId="TCLayout.ActiveDocument.1">
                  <p:embed/>
                </p:oleObj>
              </mc:Choice>
              <mc:Fallback>
                <p:oleObj name="think-cell Folie" r:id="rId28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550862" y="405374"/>
            <a:ext cx="11088688" cy="43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25"/>
            </p:custDataLst>
          </p:nvPr>
        </p:nvSpPr>
        <p:spPr bwMode="gray">
          <a:xfrm>
            <a:off x="550862" y="1701800"/>
            <a:ext cx="11088687" cy="42477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6</a:t>
            </a:r>
          </a:p>
          <a:p>
            <a:pPr lvl="4"/>
            <a:r>
              <a:rPr lang="de-DE" dirty="0"/>
              <a:t>7</a:t>
            </a:r>
          </a:p>
          <a:p>
            <a:pPr lvl="4"/>
            <a:r>
              <a:rPr lang="de-DE" dirty="0"/>
              <a:t>8</a:t>
            </a:r>
          </a:p>
          <a:p>
            <a:pPr lvl="4"/>
            <a:r>
              <a:rPr lang="de-DE" dirty="0"/>
              <a:t>9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982586" y="6266759"/>
            <a:ext cx="648000" cy="36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</a:lstStyle>
          <a:p>
            <a:fld id="{C68BCB74-7E12-44D5-9315-F8AF63AD348E}" type="datetime1">
              <a:rPr lang="de-DE" smtClean="0"/>
              <a:pPr/>
              <a:t>22.05.19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1703106" y="6266759"/>
            <a:ext cx="6552400" cy="36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</a:lstStyle>
          <a:p>
            <a:r>
              <a:rPr lang="de-DE" smtClean="0"/>
              <a:t>[Veranstaltungtitel] [Referent/Autor]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550486" y="6266759"/>
            <a:ext cx="360000" cy="36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</a:lstStyle>
          <a:p>
            <a:fld id="{4915BD61-E5D5-4E4F-ADA0-6F3448AB9FA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VCT_Marker_ID_7" hidden="1"/>
          <p:cNvSpPr/>
          <p:nvPr userDrawn="1">
            <p:custDataLst>
              <p:tags r:id="rId26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0" name="empower - DO NOT DELETE!!!" hidden="1"/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13696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49" r:id="rId2"/>
    <p:sldLayoutId id="2147483653" r:id="rId3"/>
    <p:sldLayoutId id="2147483654" r:id="rId4"/>
    <p:sldLayoutId id="2147483655" r:id="rId5"/>
    <p:sldLayoutId id="2147483656" r:id="rId6"/>
    <p:sldLayoutId id="2147483682" r:id="rId7"/>
    <p:sldLayoutId id="2147483657" r:id="rId8"/>
    <p:sldLayoutId id="2147483658" r:id="rId9"/>
    <p:sldLayoutId id="2147483650" r:id="rId10"/>
    <p:sldLayoutId id="2147483660" r:id="rId11"/>
    <p:sldLayoutId id="2147483661" r:id="rId12"/>
    <p:sldLayoutId id="2147483662" r:id="rId13"/>
    <p:sldLayoutId id="2147483663" r:id="rId14"/>
    <p:sldLayoutId id="2147483666" r:id="rId15"/>
    <p:sldLayoutId id="2147483664" r:id="rId16"/>
    <p:sldLayoutId id="2147483672" r:id="rId17"/>
    <p:sldLayoutId id="2147483671" r:id="rId18"/>
    <p:sldLayoutId id="2147483675" r:id="rId19"/>
    <p:sldLayoutId id="2147483665" r:id="rId20"/>
    <p:sldLayoutId id="2147483667" r:id="rId21"/>
  </p:sldLayoutIdLst>
  <p:hf hdr="0"/>
  <p:txStyles>
    <p:titleStyle>
      <a:lvl1pPr algn="l" defTabSz="121917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Helvetica Neue" charset="0"/>
          <a:ea typeface="Helvetica Neue" charset="0"/>
          <a:cs typeface="Helvetica Neue" charset="0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None/>
        <a:defRPr sz="1800" kern="1200" cap="none" baseline="0">
          <a:solidFill>
            <a:schemeClr val="tx1"/>
          </a:solidFill>
          <a:latin typeface="Helvetica Neue" charset="0"/>
          <a:ea typeface="Helvetica Neue" charset="0"/>
          <a:cs typeface="Helvetica Neue" charset="0"/>
        </a:defRPr>
      </a:lvl1pPr>
      <a:lvl2pPr marL="180000" indent="-18000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Helvetica Neue" charset="0"/>
          <a:ea typeface="Helvetica Neue" charset="0"/>
          <a:cs typeface="Helvetica Neue" charset="0"/>
        </a:defRPr>
      </a:lvl2pPr>
      <a:lvl3pPr marL="360000" indent="-18000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Helvetica Neue" charset="0"/>
          <a:ea typeface="Helvetica Neue" charset="0"/>
          <a:cs typeface="Helvetica Neue" charset="0"/>
        </a:defRPr>
      </a:lvl3pPr>
      <a:lvl4pPr marL="538163" indent="-180975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Helvetica Neue" charset="0"/>
          <a:ea typeface="Helvetica Neue" charset="0"/>
          <a:cs typeface="Helvetica Neue" charset="0"/>
        </a:defRPr>
      </a:lvl4pPr>
      <a:lvl5pPr marL="539750" indent="-18000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Helvetica Neue" charset="0"/>
          <a:ea typeface="Helvetica Neue" charset="0"/>
          <a:cs typeface="Helvetica Neue" charset="0"/>
        </a:defRPr>
      </a:lvl5pPr>
      <a:lvl6pPr marL="539750" indent="-18000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itchFamily="18" charset="2"/>
        <a:buChar char="-"/>
        <a:defRPr sz="1800" kern="1200">
          <a:solidFill>
            <a:schemeClr val="tx1"/>
          </a:solidFill>
          <a:latin typeface="Helvetica Neue" charset="0"/>
          <a:ea typeface="Helvetica Neue" charset="0"/>
          <a:cs typeface="Helvetica Neue" charset="0"/>
        </a:defRPr>
      </a:lvl6pPr>
      <a:lvl7pPr marL="539750" indent="-18000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539750" indent="-18000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9750" indent="-18000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47" userDrawn="1">
          <p15:clr>
            <a:srgbClr val="F26B43"/>
          </p15:clr>
        </p15:guide>
        <p15:guide id="2" orient="horz" pos="3748" userDrawn="1">
          <p15:clr>
            <a:srgbClr val="F26B43"/>
          </p15:clr>
        </p15:guide>
        <p15:guide id="3" pos="7332" userDrawn="1">
          <p15:clr>
            <a:srgbClr val="F26B43"/>
          </p15:clr>
        </p15:guide>
        <p15:guide id="4" orient="horz" pos="1072" userDrawn="1">
          <p15:clr>
            <a:srgbClr val="F26B43"/>
          </p15:clr>
        </p15:guide>
        <p15:guide id="5" orient="horz" pos="255" userDrawn="1">
          <p15:clr>
            <a:srgbClr val="F26B43"/>
          </p15:clr>
        </p15:guide>
        <p15:guide id="6" orient="horz" pos="6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pqc.org/pcf" TargetMode="External"/><Relationship Id="rId4" Type="http://schemas.openxmlformats.org/officeDocument/2006/relationships/hyperlink" Target="http://www.arc42.de/" TargetMode="External"/><Relationship Id="rId5" Type="http://schemas.openxmlformats.org/officeDocument/2006/relationships/hyperlink" Target="https://c4model.com/" TargetMode="External"/><Relationship Id="rId6" Type="http://schemas.openxmlformats.org/officeDocument/2006/relationships/hyperlink" Target="http://citeseerx.ist.psu.edu/viewdoc/download?doi=10.1.1.474.8760&amp;rep=rep1&amp;type=pdf" TargetMode="External"/><Relationship Id="rId1" Type="http://schemas.openxmlformats.org/officeDocument/2006/relationships/slideLayout" Target="../slideLayouts/slideLayout10.xml"/><Relationship Id="rId2" Type="http://schemas.openxmlformats.org/officeDocument/2006/relationships/hyperlink" Target="https://de.wikipedia.org/wiki/Winchester_House" TargetMode="Externa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hyperlink" Target="https://www.amazon.de/Auf-Serviette-erkl&#228;rt-&#252;berzeugen-pr&#228;sentieren/dp/3868810161/ref=sr_1_1?s=books&amp;ie=UTF8&amp;qid=1509487691&amp;sr=1-1&amp;keywords=napkin+back+of" TargetMode="External"/><Relationship Id="rId3" Type="http://schemas.openxmlformats.org/officeDocument/2006/relationships/hyperlink" Target="https://resources.sei.cmu.edu/library/asset-view.cfm?assetID=30386" TargetMode="Externa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hink-cell.com/de/" TargetMode="External"/><Relationship Id="rId4" Type="http://schemas.openxmlformats.org/officeDocument/2006/relationships/hyperlink" Target="https://www.leanix.net/" TargetMode="External"/><Relationship Id="rId5" Type="http://schemas.openxmlformats.org/officeDocument/2006/relationships/hyperlink" Target="https://github.com/joelparkerhenderson/architecture_decision_record" TargetMode="External"/><Relationship Id="rId6" Type="http://schemas.openxmlformats.org/officeDocument/2006/relationships/hyperlink" Target="https://www.sparxsystems.de/" TargetMode="External"/><Relationship Id="rId1" Type="http://schemas.openxmlformats.org/officeDocument/2006/relationships/slideLayout" Target="../slideLayouts/slideLayout10.xml"/><Relationship Id="rId2" Type="http://schemas.openxmlformats.org/officeDocument/2006/relationships/hyperlink" Target="https://www.graphviz.org/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omg.org/spec/UML/2.4.1/Infrastructure/PDF/" TargetMode="External"/><Relationship Id="rId4" Type="http://schemas.openxmlformats.org/officeDocument/2006/relationships/hyperlink" Target="https://c4model.com/" TargetMode="External"/><Relationship Id="rId5" Type="http://schemas.openxmlformats.org/officeDocument/2006/relationships/hyperlink" Target="http://www.fmc-modeling.org/" TargetMode="External"/><Relationship Id="rId6" Type="http://schemas.openxmlformats.org/officeDocument/2006/relationships/hyperlink" Target="https://www.opengroup.org/archimate-forum/archimate-overview" TargetMode="External"/><Relationship Id="rId1" Type="http://schemas.openxmlformats.org/officeDocument/2006/relationships/slideLayout" Target="../slideLayouts/slideLayout10.xml"/><Relationship Id="rId2" Type="http://schemas.openxmlformats.org/officeDocument/2006/relationships/hyperlink" Target="https://de.wikipedia.org/wiki/ARIS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4" Type="http://schemas.openxmlformats.org/officeDocument/2006/relationships/hyperlink" Target="github:%20https://github.com/groonvandorp/EAM-Professional-Ressources.git" TargetMode="External"/><Relationship Id="rId1" Type="http://schemas.openxmlformats.org/officeDocument/2006/relationships/slideLayout" Target="../slideLayouts/slideLayout7.xml"/><Relationship Id="rId2" Type="http://schemas.openxmlformats.org/officeDocument/2006/relationships/hyperlink" Target="mailto:oliver@groon-vandorp.de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50436" y="477584"/>
            <a:ext cx="5112000" cy="3744320"/>
          </a:xfrm>
        </p:spPr>
        <p:txBody>
          <a:bodyPr/>
          <a:lstStyle/>
          <a:p>
            <a:r>
              <a:rPr lang="de-DE" altLang="de-DE" b="1" dirty="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rPr>
              <a:t>IT-</a:t>
            </a:r>
            <a:r>
              <a:rPr lang="de-DE" altLang="de-DE" b="1" dirty="0" err="1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rPr>
              <a:t>Architecture</a:t>
            </a:r>
            <a:r>
              <a:rPr lang="de-DE" altLang="de-DE" b="1" dirty="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rPr>
              <a:t> </a:t>
            </a:r>
            <a:r>
              <a:rPr lang="de-DE" altLang="de-DE" b="1" dirty="0" err="1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rPr>
              <a:t>and</a:t>
            </a:r>
            <a:r>
              <a:rPr lang="de-DE" altLang="de-DE" b="1" dirty="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rPr>
              <a:t> Technology </a:t>
            </a:r>
            <a:r>
              <a:rPr lang="de-DE" altLang="de-DE" b="1" dirty="0" smtClean="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rPr>
              <a:t>Professional </a:t>
            </a:r>
            <a:r>
              <a:rPr lang="de-DE" altLang="de-DE" b="1" dirty="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rPr>
              <a:t/>
            </a:r>
            <a:br>
              <a:rPr lang="de-DE" altLang="de-DE" b="1" dirty="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rPr>
            </a:br>
            <a:r>
              <a:rPr lang="de-DE" altLang="de-DE" b="1" dirty="0" smtClean="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rPr>
              <a:t/>
            </a:r>
            <a:br>
              <a:rPr lang="de-DE" altLang="de-DE" b="1" dirty="0" smtClean="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rPr>
            </a:br>
            <a:r>
              <a:rPr lang="de-DE" altLang="de-DE" b="0" dirty="0" err="1" smtClean="0">
                <a:solidFill>
                  <a:schemeClr val="tx1"/>
                </a:solidFill>
              </a:rPr>
              <a:t>Ressources</a:t>
            </a:r>
            <a:endParaRPr lang="de-DE" altLang="de-DE" sz="1600" b="0" dirty="0">
              <a:solidFill>
                <a:schemeClr val="tx1"/>
              </a:solidFill>
              <a:latin typeface="Helvetica Neue" charset="0"/>
              <a:ea typeface="Helvetica Neue" charset="0"/>
              <a:cs typeface="Helvetica Neue" charset="0"/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9839726" y="6131049"/>
            <a:ext cx="2201104" cy="58477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r">
              <a:buClr>
                <a:schemeClr val="tx2"/>
              </a:buClr>
            </a:pPr>
            <a:r>
              <a:rPr lang="de-DE" sz="1600" b="1" dirty="0" smtClean="0">
                <a:latin typeface="Helvetica Neue" charset="0"/>
                <a:ea typeface="Helvetica Neue" charset="0"/>
                <a:cs typeface="Helvetica Neue" charset="0"/>
              </a:rPr>
              <a:t>GROON </a:t>
            </a:r>
          </a:p>
          <a:p>
            <a:pPr algn="r">
              <a:buClr>
                <a:schemeClr val="tx2"/>
              </a:buClr>
            </a:pPr>
            <a:r>
              <a:rPr lang="de-DE" sz="1600" b="1" dirty="0" smtClean="0">
                <a:latin typeface="Helvetica Neue" charset="0"/>
                <a:ea typeface="Helvetica Neue" charset="0"/>
                <a:cs typeface="Helvetica Neue" charset="0"/>
              </a:rPr>
              <a:t>VANDORP</a:t>
            </a:r>
            <a:endParaRPr lang="de-DE" sz="1600" b="1" dirty="0" smtClean="0">
              <a:latin typeface="Helvetica Neue" charset="0"/>
              <a:ea typeface="Helvetica Neue" charset="0"/>
              <a:cs typeface="Helvetica Neue" charset="0"/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118376" y="6454214"/>
            <a:ext cx="176202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1100" smtClean="0">
                <a:latin typeface="Helvetica Neue" charset="0"/>
                <a:ea typeface="Helvetica Neue" charset="0"/>
                <a:cs typeface="Helvetica Neue" charset="0"/>
              </a:rPr>
              <a:t>(Seminar </a:t>
            </a:r>
            <a:r>
              <a:rPr lang="de-DE" altLang="de-DE" sz="1100" dirty="0">
                <a:latin typeface="Helvetica Neue" charset="0"/>
                <a:ea typeface="Helvetica Neue" charset="0"/>
                <a:cs typeface="Helvetica Neue" charset="0"/>
              </a:rPr>
              <a:t>31340 </a:t>
            </a:r>
            <a:r>
              <a:rPr lang="de-DE" altLang="de-DE" sz="1100" dirty="0" err="1">
                <a:latin typeface="Helvetica Neue" charset="0"/>
                <a:ea typeface="Helvetica Neue" charset="0"/>
                <a:cs typeface="Helvetica Neue" charset="0"/>
              </a:rPr>
              <a:t>Rev</a:t>
            </a:r>
            <a:r>
              <a:rPr lang="de-DE" altLang="de-DE" sz="1100" dirty="0">
                <a:latin typeface="Helvetica Neue" charset="0"/>
                <a:ea typeface="Helvetica Neue" charset="0"/>
                <a:cs typeface="Helvetica Neue" charset="0"/>
              </a:rPr>
              <a:t>. 1.6)</a:t>
            </a:r>
            <a:endParaRPr lang="de-DE" sz="1100" dirty="0"/>
          </a:p>
        </p:txBody>
      </p:sp>
    </p:spTree>
    <p:extLst>
      <p:ext uri="{BB962C8B-B14F-4D97-AF65-F5344CB8AC3E}">
        <p14:creationId xmlns:p14="http://schemas.microsoft.com/office/powerpoint/2010/main" val="822268080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pps für </a:t>
            </a:r>
            <a:r>
              <a:rPr lang="de-DE" dirty="0" smtClean="0"/>
              <a:t>Architekten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550800" y="1701799"/>
            <a:ext cx="11088000" cy="4320356"/>
          </a:xfrm>
        </p:spPr>
        <p:txBody>
          <a:bodyPr numCol="3" spcCol="180000"/>
          <a:lstStyle/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altLang="de-DE" sz="1100" dirty="0"/>
              <a:t>Agieren statt reagieren.</a:t>
            </a:r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altLang="de-DE" sz="1100" dirty="0"/>
              <a:t>Denke stets voraus.    </a:t>
            </a:r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altLang="de-DE" sz="1100" dirty="0"/>
              <a:t>Der das Geld hat, der entscheidet, was wie gebaut wird. </a:t>
            </a:r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altLang="de-DE" sz="1100" dirty="0"/>
              <a:t>Besorge idealerweise eigenes Budget für architektonische Maßnahmen oder initiiere selbst ein Projekt.</a:t>
            </a:r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altLang="de-DE" sz="1100" dirty="0"/>
              <a:t>Architekturlösungen brauchen eine "schussfeste" Argumentation. </a:t>
            </a:r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altLang="de-DE" sz="1100" dirty="0"/>
              <a:t>Benutze die "logische Kette" für den Aufbau Deiner </a:t>
            </a:r>
            <a:r>
              <a:rPr lang="de-DE" altLang="de-DE" sz="1100" dirty="0" err="1"/>
              <a:t>Storyline</a:t>
            </a:r>
            <a:r>
              <a:rPr lang="de-DE" altLang="de-DE" sz="1100" dirty="0"/>
              <a:t>.</a:t>
            </a:r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altLang="de-DE" sz="1100" dirty="0"/>
              <a:t>Vergeude keine Zeit mit Begriffsdefinitionen, nutze ein fertiges Architekturframework und halte dich an bestehende Definitionen.</a:t>
            </a:r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altLang="de-DE" sz="1100" dirty="0"/>
              <a:t>Erstelle möglichst keine "Architekturtapeten" (A0), das Zielformat für Entscheidungsvorlagen ist i.d.R. PowerPoint A4 Querformat.  </a:t>
            </a:r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altLang="de-DE" sz="1100" dirty="0"/>
              <a:t>Der Architekt führt Entscheidungen herbei und nutzt Architekturzeichnungen zur Untermauerung des architektonischen Handlungsbedarfs. </a:t>
            </a:r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altLang="de-DE" sz="1100" dirty="0"/>
              <a:t>Nicht jeder Vorschlag wird gekauft, bilde ein "</a:t>
            </a:r>
            <a:r>
              <a:rPr lang="de-DE" altLang="de-DE" sz="1100" dirty="0" err="1"/>
              <a:t>Backlog</a:t>
            </a:r>
            <a:r>
              <a:rPr lang="de-DE" altLang="de-DE" sz="1100" dirty="0"/>
              <a:t>" und lege bei Bedarf und im richtigen Moment Deine Verschläge erneut vor</a:t>
            </a:r>
            <a:r>
              <a:rPr lang="de-DE" altLang="de-DE" sz="1100" dirty="0" smtClean="0"/>
              <a:t>.</a:t>
            </a:r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altLang="de-DE" sz="1100" dirty="0"/>
              <a:t>Pflege gute Beziehungen zu allen Stakeholdern. </a:t>
            </a:r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altLang="de-DE" sz="1100" dirty="0"/>
              <a:t>Du erreichst Deine Ziele durch gute Argumente, niemals durch Streit.    </a:t>
            </a:r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altLang="de-DE" sz="1100" dirty="0"/>
              <a:t>Besorge Dir einen realistischen, messbaren, zeitgebundenen, spezifischen Architekturauftrag.    </a:t>
            </a:r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altLang="de-DE" sz="1100" dirty="0"/>
              <a:t>Starte klein und zeige schnelle Erfolge, sei sichtbar.    </a:t>
            </a:r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altLang="de-DE" sz="1100" dirty="0"/>
              <a:t>Definiere Dein Aktionsgebiet "CIO-Land" und schneide es auf eine beherrschbare Größe.    </a:t>
            </a:r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altLang="de-DE" sz="1100" dirty="0"/>
              <a:t>Als Enterprise Architekt sollst Du nicht als IT Architekt im Projekt arbeiten. </a:t>
            </a:r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altLang="de-DE" sz="1100" dirty="0"/>
              <a:t>Zeige den Nutzen Deiner Architekturarbeit und sammle Erfolge wie Trophäen.    </a:t>
            </a:r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altLang="de-DE" sz="1100" dirty="0"/>
              <a:t>Definiere Deine wichtigsten Architekturbilder, kalkuliere den Aufwand der Erstellung und hinterfrage immer den Nutzen.    </a:t>
            </a:r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altLang="de-DE" sz="1100" dirty="0"/>
              <a:t>Sorge dafür, dass Deine Stakeholder Deine Architekturbilder verstehen, erklären können und nutzen.</a:t>
            </a:r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altLang="de-DE" sz="1100" dirty="0"/>
              <a:t>Integriere Deine Architekturaktivität in relevante IT-Managementprozesse: IT Portfoliomanagement, Projektdefinition, Projektabschluss, Geschäftsplanung, IT Strategieentwicklung, </a:t>
            </a:r>
            <a:r>
              <a:rPr lang="de-DE" altLang="de-DE" sz="1100" dirty="0" smtClean="0"/>
              <a:t>Geschäftsstrategieentwicklung</a:t>
            </a:r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altLang="de-DE" sz="1100" dirty="0"/>
              <a:t>Achte auf das richtige Timing und nutze IT-Projekte als Vehikel zur Umsetzung Deiner Architekturmaßnahmen.    </a:t>
            </a:r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altLang="de-DE" sz="1100" dirty="0"/>
              <a:t>Lese "Gartner-</a:t>
            </a:r>
            <a:r>
              <a:rPr lang="de-DE" altLang="de-DE" sz="1100" dirty="0" err="1"/>
              <a:t>Hypecycles</a:t>
            </a:r>
            <a:r>
              <a:rPr lang="de-DE" altLang="de-DE" sz="1100" dirty="0"/>
              <a:t>" (o. ä.), sei vertraut mit den neuesten Trends und </a:t>
            </a:r>
            <a:r>
              <a:rPr lang="de-DE" altLang="de-DE" sz="1100" dirty="0" err="1"/>
              <a:t>Buzzwords</a:t>
            </a:r>
            <a:r>
              <a:rPr lang="de-DE" altLang="de-DE" sz="1100" dirty="0"/>
              <a:t> und bilde Dir eine Meinung.    </a:t>
            </a:r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altLang="de-DE" sz="1100" dirty="0"/>
              <a:t>Kenne die heißen Themen Deines Chefs oder Deiner Entscheider und versuche regelmäßig auf dem Laufenden zu bleiben</a:t>
            </a:r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altLang="de-DE" sz="1100" dirty="0"/>
              <a:t>Erstelle den persönlichen </a:t>
            </a:r>
            <a:r>
              <a:rPr lang="de-DE" altLang="de-DE" sz="1100" dirty="0" err="1"/>
              <a:t>HypeCycle</a:t>
            </a:r>
            <a:r>
              <a:rPr lang="de-DE" altLang="de-DE" sz="1100" dirty="0"/>
              <a:t> Deines Chefs/Entscheiders und lege Deine Themen darin ab</a:t>
            </a:r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altLang="de-DE" sz="1100" dirty="0"/>
              <a:t>Reserviere Budget im IT Portfolioprozess für Technologie- und Architekturmaßnahmen.    </a:t>
            </a:r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altLang="de-DE" sz="1100" dirty="0"/>
              <a:t>Kontrolliere die Umsetzung Deiner Architekturmaßnahmen - "</a:t>
            </a:r>
            <a:r>
              <a:rPr lang="de-DE" altLang="de-DE" sz="1100" dirty="0" err="1"/>
              <a:t>You</a:t>
            </a:r>
            <a:r>
              <a:rPr lang="de-DE" altLang="de-DE" sz="1100" dirty="0"/>
              <a:t> </a:t>
            </a:r>
            <a:r>
              <a:rPr lang="de-DE" altLang="de-DE" sz="1100" dirty="0" err="1"/>
              <a:t>always</a:t>
            </a:r>
            <a:r>
              <a:rPr lang="de-DE" altLang="de-DE" sz="1100" dirty="0"/>
              <a:t> </a:t>
            </a:r>
            <a:r>
              <a:rPr lang="de-DE" altLang="de-DE" sz="1100" dirty="0" err="1"/>
              <a:t>get</a:t>
            </a:r>
            <a:r>
              <a:rPr lang="de-DE" altLang="de-DE" sz="1100" dirty="0"/>
              <a:t> </a:t>
            </a:r>
            <a:r>
              <a:rPr lang="de-DE" altLang="de-DE" sz="1100" dirty="0" err="1"/>
              <a:t>what</a:t>
            </a:r>
            <a:r>
              <a:rPr lang="de-DE" altLang="de-DE" sz="1100" dirty="0"/>
              <a:t> </a:t>
            </a:r>
            <a:r>
              <a:rPr lang="de-DE" altLang="de-DE" sz="1100" dirty="0" err="1"/>
              <a:t>you</a:t>
            </a:r>
            <a:r>
              <a:rPr lang="de-DE" altLang="de-DE" sz="1100" dirty="0"/>
              <a:t> </a:t>
            </a:r>
            <a:r>
              <a:rPr lang="de-DE" altLang="de-DE" sz="1100" dirty="0" err="1"/>
              <a:t>inspect</a:t>
            </a:r>
            <a:r>
              <a:rPr lang="de-DE" altLang="de-DE" sz="1100" dirty="0"/>
              <a:t>, not </a:t>
            </a:r>
            <a:r>
              <a:rPr lang="de-DE" altLang="de-DE" sz="1100" dirty="0" err="1"/>
              <a:t>what</a:t>
            </a:r>
            <a:r>
              <a:rPr lang="de-DE" altLang="de-DE" sz="1100" dirty="0"/>
              <a:t> </a:t>
            </a:r>
            <a:r>
              <a:rPr lang="de-DE" altLang="de-DE" sz="1100" dirty="0" err="1"/>
              <a:t>you</a:t>
            </a:r>
            <a:r>
              <a:rPr lang="de-DE" altLang="de-DE" sz="1100" dirty="0"/>
              <a:t> </a:t>
            </a:r>
            <a:r>
              <a:rPr lang="de-DE" altLang="de-DE" sz="1100" dirty="0" err="1"/>
              <a:t>expect</a:t>
            </a:r>
            <a:r>
              <a:rPr lang="de-DE" altLang="de-DE" sz="1100" dirty="0"/>
              <a:t>"</a:t>
            </a:r>
            <a:endParaRPr lang="de-DE" sz="1100" dirty="0"/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endParaRPr lang="de-DE" altLang="de-DE" sz="1100" dirty="0"/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endParaRPr lang="de-DE" altLang="de-DE" sz="110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426C5-29E4-4DF8-9A3D-3FFF5FEB8D2F}" type="datetime1">
              <a:rPr lang="de-DE" smtClean="0"/>
              <a:t>22.05.19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T-Architecture and Technology. (</a:t>
            </a:r>
            <a:r>
              <a:rPr lang="en-US" dirty="0" err="1"/>
              <a:t>Sem.Nr</a:t>
            </a:r>
            <a:r>
              <a:rPr lang="en-US" dirty="0"/>
              <a:t>. 31340) Rev. </a:t>
            </a:r>
            <a:r>
              <a:rPr lang="en-US" dirty="0" smtClean="0"/>
              <a:t>1.6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15BD61-E5D5-4E4F-ADA0-6F3448AB9FA6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1027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nks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64A3D7-DB5B-4BC8-8435-20C64E6BE645}" type="datetime1">
              <a:rPr lang="de-DE" smtClean="0"/>
              <a:t>22.05.19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T-Architecture and Technology. (</a:t>
            </a:r>
            <a:r>
              <a:rPr lang="en-US" dirty="0" err="1"/>
              <a:t>Sem.Nr</a:t>
            </a:r>
            <a:r>
              <a:rPr lang="en-US" dirty="0"/>
              <a:t>. 31340) </a:t>
            </a:r>
            <a:r>
              <a:rPr lang="sk-SK" dirty="0" smtClean="0"/>
              <a:t>Rev. 1.6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15BD61-E5D5-4E4F-ADA0-6F3448AB9FA6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/>
          </p:nvPr>
        </p:nvSpPr>
        <p:spPr/>
        <p:txBody>
          <a:bodyPr vert="horz" lIns="0" tIns="0" rIns="0" bIns="0" numCol="3" spcCol="180000" rtlCol="0">
            <a:noAutofit/>
          </a:bodyPr>
          <a:lstStyle/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altLang="de-DE" sz="1100" dirty="0"/>
              <a:t>TOGAF - The Open Group </a:t>
            </a:r>
            <a:r>
              <a:rPr lang="de-DE" altLang="de-DE" sz="1100" dirty="0" err="1"/>
              <a:t>Architecture</a:t>
            </a:r>
            <a:r>
              <a:rPr lang="de-DE" altLang="de-DE" sz="1100" dirty="0"/>
              <a:t> Framework: http://</a:t>
            </a:r>
            <a:r>
              <a:rPr lang="de-DE" altLang="de-DE" sz="1100" dirty="0" err="1"/>
              <a:t>www.opengroup.org</a:t>
            </a:r>
            <a:r>
              <a:rPr lang="de-DE" altLang="de-DE" sz="1100" dirty="0"/>
              <a:t>/</a:t>
            </a:r>
            <a:r>
              <a:rPr lang="de-DE" altLang="de-DE" sz="1100" dirty="0" err="1"/>
              <a:t>subjectareas</a:t>
            </a:r>
            <a:r>
              <a:rPr lang="de-DE" altLang="de-DE" sz="1100" dirty="0"/>
              <a:t>/</a:t>
            </a:r>
            <a:r>
              <a:rPr lang="de-DE" altLang="de-DE" sz="1100" dirty="0" err="1"/>
              <a:t>enterprise</a:t>
            </a:r>
            <a:r>
              <a:rPr lang="de-DE" altLang="de-DE" sz="1100" dirty="0"/>
              <a:t>/</a:t>
            </a:r>
            <a:r>
              <a:rPr lang="de-DE" altLang="de-DE" sz="1100" dirty="0" err="1"/>
              <a:t>togaf</a:t>
            </a:r>
            <a:r>
              <a:rPr lang="de-DE" altLang="de-DE" sz="1100" dirty="0"/>
              <a:t>/    </a:t>
            </a:r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altLang="de-DE" sz="1100" dirty="0"/>
              <a:t>TOGAF Metamodell: http://</a:t>
            </a:r>
            <a:r>
              <a:rPr lang="de-DE" altLang="de-DE" sz="1100" dirty="0" err="1"/>
              <a:t>pubs.opengroup.org</a:t>
            </a:r>
            <a:r>
              <a:rPr lang="de-DE" altLang="de-DE" sz="1100" dirty="0"/>
              <a:t>/</a:t>
            </a:r>
            <a:r>
              <a:rPr lang="de-DE" altLang="de-DE" sz="1100" dirty="0" err="1"/>
              <a:t>architecture</a:t>
            </a:r>
            <a:r>
              <a:rPr lang="de-DE" altLang="de-DE" sz="1100" dirty="0"/>
              <a:t>/togaf9-doc/</a:t>
            </a:r>
            <a:r>
              <a:rPr lang="de-DE" altLang="de-DE" sz="1100" dirty="0" err="1"/>
              <a:t>arch</a:t>
            </a:r>
            <a:r>
              <a:rPr lang="de-DE" altLang="de-DE" sz="1100" dirty="0"/>
              <a:t>/chap34.html    </a:t>
            </a:r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altLang="de-DE" sz="1100" dirty="0" err="1"/>
              <a:t>Leanix</a:t>
            </a:r>
            <a:r>
              <a:rPr lang="de-DE" altLang="de-DE" sz="1100" dirty="0"/>
              <a:t> - Architektur Management Lösung - cloudbasiert: http://</a:t>
            </a:r>
            <a:r>
              <a:rPr lang="de-DE" altLang="de-DE" sz="1100" dirty="0" err="1"/>
              <a:t>www.LeanIX.net</a:t>
            </a:r>
            <a:r>
              <a:rPr lang="de-DE" altLang="de-DE" sz="1100" dirty="0"/>
              <a:t>    </a:t>
            </a:r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altLang="de-DE" sz="1100" dirty="0" err="1"/>
              <a:t>Winchester</a:t>
            </a:r>
            <a:r>
              <a:rPr lang="de-DE" altLang="de-DE" sz="1100" dirty="0"/>
              <a:t> Mystery House: </a:t>
            </a:r>
            <a:r>
              <a:rPr lang="de-DE" altLang="de-DE" sz="1100" dirty="0">
                <a:hlinkClick r:id="rId2"/>
              </a:rPr>
              <a:t>https://de.wikipedia.org/wiki/Winchester_House</a:t>
            </a:r>
            <a:endParaRPr lang="de-DE" altLang="de-DE" sz="1100" dirty="0"/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altLang="de-DE" sz="1100" dirty="0" err="1"/>
              <a:t>Process</a:t>
            </a:r>
            <a:r>
              <a:rPr lang="de-DE" altLang="de-DE" sz="1100" dirty="0"/>
              <a:t> </a:t>
            </a:r>
            <a:r>
              <a:rPr lang="de-DE" altLang="de-DE" sz="1100" dirty="0" err="1"/>
              <a:t>Classification</a:t>
            </a:r>
            <a:r>
              <a:rPr lang="de-DE" altLang="de-DE" sz="1100" dirty="0"/>
              <a:t> Framework (PCF): </a:t>
            </a:r>
            <a:r>
              <a:rPr lang="de-DE" altLang="de-DE" sz="1100" dirty="0">
                <a:hlinkClick r:id="rId3"/>
              </a:rPr>
              <a:t>https://www.apqc.org/pcf</a:t>
            </a:r>
            <a:endParaRPr lang="de-DE" altLang="de-DE" sz="1100" dirty="0"/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altLang="de-DE" sz="1100" dirty="0"/>
              <a:t>arc42 - </a:t>
            </a:r>
            <a:r>
              <a:rPr lang="de-DE" sz="1100" dirty="0"/>
              <a:t>Ressourcen für Softwarearchitekten: </a:t>
            </a:r>
            <a:r>
              <a:rPr lang="de-DE" sz="1100" dirty="0">
                <a:hlinkClick r:id="rId4"/>
              </a:rPr>
              <a:t>http://www.arc42.de</a:t>
            </a:r>
            <a:endParaRPr lang="de-DE" sz="1100" dirty="0"/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sz="1100" dirty="0"/>
              <a:t>The C4 </a:t>
            </a:r>
            <a:r>
              <a:rPr lang="de-DE" sz="1100" dirty="0" err="1"/>
              <a:t>model</a:t>
            </a:r>
            <a:r>
              <a:rPr lang="de-DE" sz="1100" dirty="0"/>
              <a:t> </a:t>
            </a:r>
            <a:r>
              <a:rPr lang="de-DE" sz="1100" dirty="0" err="1"/>
              <a:t>for</a:t>
            </a:r>
            <a:r>
              <a:rPr lang="de-DE" sz="1100" dirty="0"/>
              <a:t> </a:t>
            </a:r>
            <a:r>
              <a:rPr lang="de-DE" sz="1100" dirty="0" err="1"/>
              <a:t>visualizing</a:t>
            </a:r>
            <a:r>
              <a:rPr lang="de-DE" sz="1100" dirty="0"/>
              <a:t> </a:t>
            </a:r>
            <a:r>
              <a:rPr lang="de-DE" sz="1100" dirty="0" err="1"/>
              <a:t>software</a:t>
            </a:r>
            <a:r>
              <a:rPr lang="de-DE" sz="1100" dirty="0"/>
              <a:t> </a:t>
            </a:r>
            <a:r>
              <a:rPr lang="de-DE" sz="1100" dirty="0" err="1"/>
              <a:t>architecture</a:t>
            </a:r>
            <a:r>
              <a:rPr lang="de-DE" sz="1100" dirty="0"/>
              <a:t>: </a:t>
            </a:r>
            <a:r>
              <a:rPr lang="de-DE" sz="1100" dirty="0">
                <a:hlinkClick r:id="rId5"/>
              </a:rPr>
              <a:t>https://c4model.com</a:t>
            </a:r>
            <a:endParaRPr lang="de-DE" sz="1100" dirty="0"/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sz="1100" dirty="0" err="1"/>
              <a:t>Architecture</a:t>
            </a:r>
            <a:r>
              <a:rPr lang="de-DE" sz="1100" dirty="0"/>
              <a:t> </a:t>
            </a:r>
            <a:r>
              <a:rPr lang="de-DE" sz="1100" dirty="0" err="1"/>
              <a:t>Decision</a:t>
            </a:r>
            <a:r>
              <a:rPr lang="de-DE" sz="1100" dirty="0"/>
              <a:t> Records: https://</a:t>
            </a:r>
            <a:r>
              <a:rPr lang="de-DE" sz="1100" dirty="0" err="1"/>
              <a:t>github.com</a:t>
            </a:r>
            <a:r>
              <a:rPr lang="de-DE" sz="1100" dirty="0"/>
              <a:t>/</a:t>
            </a:r>
            <a:r>
              <a:rPr lang="de-DE" sz="1100" dirty="0" err="1"/>
              <a:t>joelparkerhenderson</a:t>
            </a:r>
            <a:r>
              <a:rPr lang="de-DE" sz="1100" dirty="0"/>
              <a:t>/</a:t>
            </a:r>
            <a:r>
              <a:rPr lang="de-DE" sz="1100" dirty="0" err="1"/>
              <a:t>architecture_decision_record</a:t>
            </a:r>
            <a:endParaRPr lang="de-DE" sz="1100" dirty="0"/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sz="1100" dirty="0"/>
              <a:t>The </a:t>
            </a:r>
            <a:r>
              <a:rPr lang="de-DE" sz="1100" dirty="0" err="1"/>
              <a:t>role</a:t>
            </a:r>
            <a:r>
              <a:rPr lang="de-DE" sz="1100" dirty="0"/>
              <a:t> </a:t>
            </a:r>
            <a:r>
              <a:rPr lang="de-DE" sz="1100" dirty="0" err="1"/>
              <a:t>of</a:t>
            </a:r>
            <a:r>
              <a:rPr lang="de-DE" sz="1100" dirty="0"/>
              <a:t> a “</a:t>
            </a:r>
            <a:r>
              <a:rPr lang="de-DE" sz="1100" dirty="0" err="1"/>
              <a:t>decision</a:t>
            </a:r>
            <a:r>
              <a:rPr lang="de-DE" sz="1100" dirty="0"/>
              <a:t> </a:t>
            </a:r>
            <a:r>
              <a:rPr lang="de-DE" sz="1100" dirty="0" err="1"/>
              <a:t>view</a:t>
            </a:r>
            <a:r>
              <a:rPr lang="de-DE" sz="1100" dirty="0"/>
              <a:t>” in </a:t>
            </a:r>
            <a:r>
              <a:rPr lang="de-DE" sz="1100" dirty="0" err="1"/>
              <a:t>software</a:t>
            </a:r>
            <a:r>
              <a:rPr lang="de-DE" sz="1100" dirty="0"/>
              <a:t> </a:t>
            </a:r>
            <a:r>
              <a:rPr lang="de-DE" sz="1100" dirty="0" err="1"/>
              <a:t>architecture</a:t>
            </a:r>
            <a:r>
              <a:rPr lang="de-DE" sz="1100" dirty="0"/>
              <a:t> </a:t>
            </a:r>
            <a:r>
              <a:rPr lang="de-DE" sz="1100" dirty="0" err="1"/>
              <a:t>practice</a:t>
            </a:r>
            <a:r>
              <a:rPr lang="de-DE" sz="1100" dirty="0"/>
              <a:t> - Philippe Kruchten1, Rafael Capilla2, Juan C. Dueñas3 - </a:t>
            </a:r>
            <a:r>
              <a:rPr lang="de-DE" sz="1100" dirty="0">
                <a:hlinkClick r:id="rId6"/>
              </a:rPr>
              <a:t>http://</a:t>
            </a:r>
            <a:r>
              <a:rPr lang="de-DE" sz="1100" dirty="0" err="1">
                <a:hlinkClick r:id="rId6"/>
              </a:rPr>
              <a:t>citeseerx.ist.psu.edu</a:t>
            </a:r>
            <a:r>
              <a:rPr lang="de-DE" sz="1100" dirty="0">
                <a:hlinkClick r:id="rId6"/>
              </a:rPr>
              <a:t>/</a:t>
            </a:r>
            <a:r>
              <a:rPr lang="de-DE" sz="1100" dirty="0" err="1">
                <a:hlinkClick r:id="rId6"/>
              </a:rPr>
              <a:t>viewdoc</a:t>
            </a:r>
            <a:r>
              <a:rPr lang="de-DE" sz="1100" dirty="0">
                <a:hlinkClick r:id="rId6"/>
              </a:rPr>
              <a:t>/download?</a:t>
            </a:r>
            <a:r>
              <a:rPr lang="de-DE" sz="1100" dirty="0" err="1">
                <a:hlinkClick r:id="rId6"/>
              </a:rPr>
              <a:t>doi</a:t>
            </a:r>
            <a:r>
              <a:rPr lang="de-DE" sz="1100" dirty="0">
                <a:hlinkClick r:id="rId6"/>
              </a:rPr>
              <a:t>=10.1.1.474.8760&amp;rep=rep1&amp;type=pdf</a:t>
            </a:r>
            <a:endParaRPr lang="de-DE" sz="1100" dirty="0"/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sz="1100" dirty="0"/>
              <a:t>EAM Pattern Katalog TU München https://</a:t>
            </a:r>
            <a:r>
              <a:rPr lang="de-DE" sz="1100" dirty="0" err="1"/>
              <a:t>wwwmatthes.in.tum.de</a:t>
            </a:r>
            <a:r>
              <a:rPr lang="de-DE" sz="1100" dirty="0"/>
              <a:t>/pages/146i8lzdg690d/EAM-Pattern-</a:t>
            </a:r>
            <a:r>
              <a:rPr lang="de-DE" sz="1100" dirty="0" err="1"/>
              <a:t>Catalog</a:t>
            </a:r>
            <a:endParaRPr lang="de-DE" sz="1100" dirty="0"/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endParaRPr lang="de-DE" altLang="de-DE" sz="1100" dirty="0"/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endParaRPr lang="de-DE" altLang="de-DE" sz="110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42819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uchtipps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64A3D7-DB5B-4BC8-8435-20C64E6BE645}" type="datetime1">
              <a:rPr lang="de-DE" smtClean="0"/>
              <a:t>22.05.19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T-Architecture and Technology. (</a:t>
            </a:r>
            <a:r>
              <a:rPr lang="en-US" dirty="0" err="1"/>
              <a:t>Sem.Nr</a:t>
            </a:r>
            <a:r>
              <a:rPr lang="en-US" dirty="0"/>
              <a:t>. 31340) </a:t>
            </a:r>
            <a:r>
              <a:rPr lang="sk-SK" dirty="0" smtClean="0"/>
              <a:t>Rev. 1.6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15BD61-E5D5-4E4F-ADA0-6F3448AB9FA6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/>
          </p:nvPr>
        </p:nvSpPr>
        <p:spPr/>
        <p:txBody>
          <a:bodyPr vert="horz" lIns="0" tIns="0" rIns="0" bIns="0" numCol="3" spcCol="180000" rtlCol="0">
            <a:noAutofit/>
          </a:bodyPr>
          <a:lstStyle/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altLang="de-DE" sz="1100" dirty="0"/>
              <a:t>"Das Pyramidenprinzip", Barbara </a:t>
            </a:r>
            <a:r>
              <a:rPr lang="de-DE" altLang="de-DE" sz="1100" dirty="0" err="1"/>
              <a:t>Minto</a:t>
            </a:r>
            <a:r>
              <a:rPr lang="de-DE" altLang="de-DE" sz="1100" dirty="0"/>
              <a:t> (Sie hat die logische Kette erfunden. Das Buch ist die Methodenbibel von McKinsey &amp; Co.): https://</a:t>
            </a:r>
            <a:r>
              <a:rPr lang="de-DE" altLang="de-DE" sz="1100" dirty="0" err="1"/>
              <a:t>www.amazon.de</a:t>
            </a:r>
            <a:r>
              <a:rPr lang="de-DE" altLang="de-DE" sz="1100" dirty="0"/>
              <a:t>/Das-Prinzip-Pyramide-verständlich-kommunizieren/</a:t>
            </a:r>
            <a:r>
              <a:rPr lang="de-DE" altLang="de-DE" sz="1100" dirty="0" err="1"/>
              <a:t>dp</a:t>
            </a:r>
            <a:r>
              <a:rPr lang="de-DE" altLang="de-DE" sz="1100" dirty="0"/>
              <a:t>/3827371899/</a:t>
            </a:r>
            <a:r>
              <a:rPr lang="de-DE" altLang="de-DE" sz="1100" dirty="0" err="1"/>
              <a:t>ref</a:t>
            </a:r>
            <a:r>
              <a:rPr lang="de-DE" altLang="de-DE" sz="1100" dirty="0"/>
              <a:t>=sr_1_1?ie=UTF8&amp;qid=1509487607&amp;sr=8-1&amp;keywords=</a:t>
            </a:r>
            <a:r>
              <a:rPr lang="de-DE" altLang="de-DE" sz="1100" dirty="0" err="1"/>
              <a:t>das+pyramidenprinzip</a:t>
            </a:r>
            <a:r>
              <a:rPr lang="de-DE" altLang="de-DE" sz="1100" dirty="0"/>
              <a:t>    </a:t>
            </a:r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altLang="de-DE" sz="1100" dirty="0"/>
              <a:t>Auf der Serviette erklärt: Mit ein paar Strichen schnell überzeugen statt lange präsentieren: </a:t>
            </a:r>
            <a:r>
              <a:rPr lang="de-DE" altLang="de-DE" sz="1100" dirty="0">
                <a:hlinkClick r:id="rId2"/>
              </a:rPr>
              <a:t>https://www.amazon.de/Auf-Serviette-erklärt-überzeugen-präsentieren/dp/3868810161/ref=sr_1_1?s=books&amp;ie=UTF8&amp;qid=1509487691&amp;sr=1-1&amp;keywords=napkin+back+of</a:t>
            </a:r>
            <a:endParaRPr lang="de-DE" altLang="de-DE" sz="1100" dirty="0"/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altLang="de-DE" sz="1100" dirty="0" err="1"/>
              <a:t>Documenting</a:t>
            </a:r>
            <a:r>
              <a:rPr lang="de-DE" altLang="de-DE" sz="1100" dirty="0"/>
              <a:t> Software </a:t>
            </a:r>
            <a:r>
              <a:rPr lang="de-DE" altLang="de-DE" sz="1100" dirty="0" err="1"/>
              <a:t>Architectures</a:t>
            </a:r>
            <a:r>
              <a:rPr lang="de-DE" altLang="de-DE" sz="1100" dirty="0"/>
              <a:t>: Views </a:t>
            </a:r>
            <a:r>
              <a:rPr lang="de-DE" altLang="de-DE" sz="1100" dirty="0" err="1"/>
              <a:t>and</a:t>
            </a:r>
            <a:r>
              <a:rPr lang="de-DE" altLang="de-DE" sz="1100" dirty="0"/>
              <a:t> </a:t>
            </a:r>
            <a:r>
              <a:rPr lang="de-DE" altLang="de-DE" sz="1100" dirty="0" err="1"/>
              <a:t>Beyond</a:t>
            </a:r>
            <a:r>
              <a:rPr lang="de-DE" altLang="de-DE" sz="1100" dirty="0"/>
              <a:t>, Second Edition: </a:t>
            </a:r>
            <a:r>
              <a:rPr lang="de-DE" altLang="de-DE" sz="1100" dirty="0">
                <a:hlinkClick r:id="rId3"/>
              </a:rPr>
              <a:t>https://resources.sei.cmu.edu/library/asset-view.cfm?assetID=30386</a:t>
            </a:r>
            <a:endParaRPr lang="de-DE" altLang="de-DE" sz="1100" dirty="0"/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altLang="de-DE" sz="1100" dirty="0"/>
              <a:t>Effektive Software-Architekturen 8. Auflage: Gernot Starke </a:t>
            </a:r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altLang="de-DE" sz="1100" dirty="0"/>
              <a:t>Key Message </a:t>
            </a:r>
            <a:r>
              <a:rPr lang="de-DE" altLang="de-DE" sz="1100" dirty="0" err="1"/>
              <a:t>Delivered</a:t>
            </a:r>
            <a:r>
              <a:rPr lang="de-DE" altLang="de-DE" sz="1100" dirty="0"/>
              <a:t>: Wolfgang Hackenberg</a:t>
            </a:r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endParaRPr lang="de-DE" altLang="de-DE" sz="1100" dirty="0" smtClean="0"/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altLang="de-DE" sz="1100" dirty="0" smtClean="0"/>
              <a:t>Wie </a:t>
            </a:r>
            <a:r>
              <a:rPr lang="de-DE" altLang="de-DE" sz="1100" dirty="0"/>
              <a:t>aus Zahlen Bilder werden: Gene </a:t>
            </a:r>
            <a:r>
              <a:rPr lang="de-DE" altLang="de-DE" sz="1100" dirty="0" err="1"/>
              <a:t>Zelazny</a:t>
            </a:r>
            <a:r>
              <a:rPr lang="de-DE" altLang="de-DE" sz="1100" dirty="0"/>
              <a:t> (McKinsey</a:t>
            </a:r>
            <a:r>
              <a:rPr lang="de-DE" altLang="de-DE" sz="1100" dirty="0"/>
              <a:t>)</a:t>
            </a:r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altLang="de-DE" sz="1100" dirty="0"/>
              <a:t>Peter </a:t>
            </a:r>
            <a:r>
              <a:rPr lang="de-DE" altLang="de-DE" sz="1100" dirty="0" err="1"/>
              <a:t>Hinssen</a:t>
            </a:r>
            <a:r>
              <a:rPr lang="de-DE" altLang="de-DE" sz="1100" dirty="0"/>
              <a:t> </a:t>
            </a:r>
            <a:r>
              <a:rPr lang="mr-IN" altLang="de-DE" sz="1100" dirty="0"/>
              <a:t>–</a:t>
            </a:r>
            <a:r>
              <a:rPr lang="de-DE" altLang="de-DE" sz="1100" dirty="0"/>
              <a:t> The New Normal - https://</a:t>
            </a:r>
            <a:r>
              <a:rPr lang="de-DE" altLang="de-DE" sz="1100" dirty="0" err="1"/>
              <a:t>www.peterhinssen.com</a:t>
            </a:r>
            <a:r>
              <a:rPr lang="de-DE" altLang="de-DE" sz="1100" dirty="0"/>
              <a:t>/</a:t>
            </a:r>
            <a:r>
              <a:rPr lang="de-DE" altLang="de-DE" sz="1100" dirty="0" err="1"/>
              <a:t>books</a:t>
            </a:r>
            <a:r>
              <a:rPr lang="de-DE" altLang="de-DE" sz="1100" dirty="0"/>
              <a:t>/</a:t>
            </a:r>
            <a:r>
              <a:rPr lang="de-DE" altLang="de-DE" sz="1100" dirty="0" err="1"/>
              <a:t>the</a:t>
            </a:r>
            <a:r>
              <a:rPr lang="de-DE" altLang="de-DE" sz="1100" dirty="0"/>
              <a:t>-</a:t>
            </a:r>
            <a:r>
              <a:rPr lang="de-DE" altLang="de-DE" sz="1100" dirty="0" err="1"/>
              <a:t>new</a:t>
            </a:r>
            <a:r>
              <a:rPr lang="de-DE" altLang="de-DE" sz="1100" dirty="0"/>
              <a:t>-normal</a:t>
            </a:r>
            <a:endParaRPr lang="de-DE" altLang="de-DE" sz="1100" dirty="0"/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endParaRPr lang="de-DE" sz="110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683656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odcasts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7195B3-EDAE-44B9-AF78-6758C91E0D3A}" type="datetime1">
              <a:rPr lang="de-DE" smtClean="0"/>
              <a:t>22.05.19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T-Architecture and Technology. (</a:t>
            </a:r>
            <a:r>
              <a:rPr lang="en-US" dirty="0" err="1"/>
              <a:t>Sem.Nr</a:t>
            </a:r>
            <a:r>
              <a:rPr lang="en-US" dirty="0"/>
              <a:t>. 31340) </a:t>
            </a:r>
            <a:r>
              <a:rPr lang="sk-SK" dirty="0"/>
              <a:t>Rev. 1.6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15BD61-E5D5-4E4F-ADA0-6F3448AB9FA6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 vert="horz" lIns="0" tIns="0" rIns="0" bIns="0" numCol="3" spcCol="180000" rtlCol="0">
            <a:noAutofit/>
          </a:bodyPr>
          <a:lstStyle/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sz="1100" dirty="0" err="1"/>
              <a:t>SoftwareArchitekTOUR</a:t>
            </a:r>
            <a:r>
              <a:rPr lang="de-DE" sz="1100" dirty="0"/>
              <a:t> – Podcast für den professionellen Softwarearchitekten: https://</a:t>
            </a:r>
            <a:r>
              <a:rPr lang="de-DE" sz="1100" dirty="0" err="1"/>
              <a:t>www.heise.de</a:t>
            </a:r>
            <a:r>
              <a:rPr lang="de-DE" sz="1100" dirty="0"/>
              <a:t>/</a:t>
            </a:r>
            <a:r>
              <a:rPr lang="de-DE" sz="1100" dirty="0" err="1"/>
              <a:t>developer</a:t>
            </a:r>
            <a:r>
              <a:rPr lang="de-DE" sz="1100" dirty="0"/>
              <a:t>/</a:t>
            </a:r>
            <a:r>
              <a:rPr lang="de-DE" sz="1100" dirty="0" err="1"/>
              <a:t>podcast</a:t>
            </a:r>
            <a:r>
              <a:rPr lang="de-DE" sz="1100" dirty="0"/>
              <a:t>/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53488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ools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7195B3-EDAE-44B9-AF78-6758C91E0D3A}" type="datetime1">
              <a:rPr lang="de-DE" smtClean="0"/>
              <a:t>22.05.19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T-Architecture and Technology. (</a:t>
            </a:r>
            <a:r>
              <a:rPr lang="en-US" dirty="0" err="1"/>
              <a:t>Sem.Nr</a:t>
            </a:r>
            <a:r>
              <a:rPr lang="en-US" dirty="0"/>
              <a:t>. 31340) </a:t>
            </a:r>
            <a:r>
              <a:rPr lang="sk-SK" dirty="0"/>
              <a:t>Rev. 1.6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15BD61-E5D5-4E4F-ADA0-6F3448AB9FA6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 vert="horz" lIns="0" tIns="0" rIns="0" bIns="0" numCol="3" spcCol="180000" rtlCol="0">
            <a:noAutofit/>
          </a:bodyPr>
          <a:lstStyle/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altLang="de-DE" sz="1100" dirty="0" err="1"/>
              <a:t>Graphviz</a:t>
            </a:r>
            <a:r>
              <a:rPr lang="de-DE" altLang="de-DE" sz="1100" dirty="0"/>
              <a:t>: Graphen-Generator </a:t>
            </a:r>
            <a:r>
              <a:rPr lang="de-DE" altLang="de-DE" sz="1100" dirty="0">
                <a:hlinkClick r:id="rId2"/>
              </a:rPr>
              <a:t>https://www.graphviz.org</a:t>
            </a:r>
            <a:endParaRPr lang="de-DE" altLang="de-DE" sz="1100" dirty="0"/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sz="1100" dirty="0"/>
              <a:t>PowerPoint Addin: Think </a:t>
            </a:r>
            <a:r>
              <a:rPr lang="de-DE" sz="1100" dirty="0" err="1"/>
              <a:t>Cell</a:t>
            </a:r>
            <a:r>
              <a:rPr lang="de-DE" sz="1100" dirty="0"/>
              <a:t> </a:t>
            </a:r>
            <a:r>
              <a:rPr lang="de-DE" sz="1100" dirty="0">
                <a:hlinkClick r:id="rId3"/>
              </a:rPr>
              <a:t>https://www.think-cell.com/de/</a:t>
            </a:r>
            <a:endParaRPr lang="de-DE" sz="1100" dirty="0"/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sz="1100" dirty="0" err="1"/>
              <a:t>LeanIX</a:t>
            </a:r>
            <a:r>
              <a:rPr lang="de-DE" sz="1100" dirty="0"/>
              <a:t>: </a:t>
            </a:r>
            <a:r>
              <a:rPr lang="de-DE" sz="1100" dirty="0">
                <a:hlinkClick r:id="rId4"/>
              </a:rPr>
              <a:t>https://www.leanix.net</a:t>
            </a:r>
            <a:endParaRPr lang="de-DE" sz="1100" dirty="0"/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sz="1100" dirty="0" err="1"/>
              <a:t>Architecture</a:t>
            </a:r>
            <a:r>
              <a:rPr lang="de-DE" sz="1100" dirty="0"/>
              <a:t> </a:t>
            </a:r>
            <a:r>
              <a:rPr lang="de-DE" sz="1100" dirty="0" err="1"/>
              <a:t>Decision</a:t>
            </a:r>
            <a:r>
              <a:rPr lang="de-DE" sz="1100" dirty="0"/>
              <a:t> Records: </a:t>
            </a:r>
            <a:r>
              <a:rPr lang="de-DE" sz="1100" dirty="0">
                <a:hlinkClick r:id="rId5"/>
              </a:rPr>
              <a:t>https://</a:t>
            </a:r>
            <a:r>
              <a:rPr lang="de-DE" sz="1100" dirty="0" smtClean="0">
                <a:hlinkClick r:id="rId5"/>
              </a:rPr>
              <a:t>github.com/joelparkerhenderson/architecture_decision_record</a:t>
            </a:r>
            <a:endParaRPr lang="de-DE" sz="1100" dirty="0" smtClean="0"/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sz="1100" dirty="0" err="1"/>
              <a:t>Sparx</a:t>
            </a:r>
            <a:r>
              <a:rPr lang="de-DE" sz="1100" dirty="0"/>
              <a:t> Enterprise </a:t>
            </a:r>
            <a:r>
              <a:rPr lang="de-DE" sz="1100" dirty="0" err="1"/>
              <a:t>Architect</a:t>
            </a:r>
            <a:r>
              <a:rPr lang="de-DE" sz="1100" dirty="0"/>
              <a:t> - </a:t>
            </a:r>
            <a:r>
              <a:rPr lang="de-DE" sz="1100" dirty="0">
                <a:hlinkClick r:id="rId6"/>
              </a:rPr>
              <a:t>https://</a:t>
            </a:r>
            <a:r>
              <a:rPr lang="de-DE" sz="1100" dirty="0" err="1">
                <a:hlinkClick r:id="rId6"/>
              </a:rPr>
              <a:t>www.sparxsystems.de</a:t>
            </a:r>
            <a:endParaRPr lang="de-DE" sz="1100" dirty="0"/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endParaRPr lang="de-DE" sz="1100" dirty="0"/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endParaRPr lang="de-DE" sz="110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89365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Notationen und Modellierungssprach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7195B3-EDAE-44B9-AF78-6758C91E0D3A}" type="datetime1">
              <a:rPr lang="de-DE" smtClean="0"/>
              <a:pPr/>
              <a:t>22.05.19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[Veranstaltungtitel] [Referent/Autor]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15BD61-E5D5-4E4F-ADA0-6F3448AB9FA6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 vert="horz" lIns="0" tIns="0" rIns="0" bIns="0" numCol="3" spcCol="180000" rtlCol="0">
            <a:noAutofit/>
          </a:bodyPr>
          <a:lstStyle/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sz="1100" dirty="0"/>
              <a:t>ARIS-Methode </a:t>
            </a:r>
            <a:r>
              <a:rPr lang="mr-IN" sz="1100" dirty="0" smtClean="0">
                <a:hlinkClick r:id="rId2"/>
              </a:rPr>
              <a:t>–</a:t>
            </a:r>
            <a:r>
              <a:rPr lang="de-DE" sz="1100" dirty="0">
                <a:hlinkClick r:id="rId2"/>
              </a:rPr>
              <a:t/>
            </a:r>
            <a:br>
              <a:rPr lang="de-DE" sz="1100" dirty="0">
                <a:hlinkClick r:id="rId2"/>
              </a:rPr>
            </a:br>
            <a:r>
              <a:rPr lang="de-DE" sz="1100" dirty="0" smtClean="0">
                <a:hlinkClick r:id="rId2"/>
              </a:rPr>
              <a:t>https</a:t>
            </a:r>
            <a:r>
              <a:rPr lang="de-DE" sz="1100" dirty="0">
                <a:hlinkClick r:id="rId2"/>
              </a:rPr>
              <a:t>://de.wikipedia.org/wiki/ARIS</a:t>
            </a:r>
            <a:endParaRPr lang="de-DE" sz="1100" dirty="0" smtClean="0"/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sz="1100" dirty="0" smtClean="0"/>
              <a:t>Unified </a:t>
            </a:r>
            <a:r>
              <a:rPr lang="de-DE" sz="1100" dirty="0" err="1" smtClean="0"/>
              <a:t>Modelling</a:t>
            </a:r>
            <a:r>
              <a:rPr lang="de-DE" sz="1100" dirty="0"/>
              <a:t> Language (UML) - </a:t>
            </a:r>
            <a:r>
              <a:rPr lang="de-DE" sz="1100" dirty="0">
                <a:hlinkClick r:id="rId3"/>
              </a:rPr>
              <a:t>https://</a:t>
            </a:r>
            <a:r>
              <a:rPr lang="de-DE" sz="1100" dirty="0" err="1">
                <a:hlinkClick r:id="rId3"/>
              </a:rPr>
              <a:t>www.omg.org</a:t>
            </a:r>
            <a:r>
              <a:rPr lang="de-DE" sz="1100" dirty="0">
                <a:hlinkClick r:id="rId3"/>
              </a:rPr>
              <a:t>/</a:t>
            </a:r>
            <a:r>
              <a:rPr lang="de-DE" sz="1100" dirty="0" err="1">
                <a:hlinkClick r:id="rId3"/>
              </a:rPr>
              <a:t>spec</a:t>
            </a:r>
            <a:r>
              <a:rPr lang="de-DE" sz="1100" dirty="0">
                <a:hlinkClick r:id="rId3"/>
              </a:rPr>
              <a:t>/UML/2.4.1/Infrastructure/PDF/</a:t>
            </a:r>
            <a:endParaRPr lang="de-DE" sz="1100" dirty="0" smtClean="0"/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sz="1100" dirty="0"/>
              <a:t>The C4 </a:t>
            </a:r>
            <a:r>
              <a:rPr lang="de-DE" sz="1100" dirty="0" err="1"/>
              <a:t>model</a:t>
            </a:r>
            <a:r>
              <a:rPr lang="de-DE" sz="1100" dirty="0"/>
              <a:t> </a:t>
            </a:r>
            <a:r>
              <a:rPr lang="de-DE" sz="1100" dirty="0" err="1"/>
              <a:t>for</a:t>
            </a:r>
            <a:r>
              <a:rPr lang="de-DE" sz="1100" dirty="0"/>
              <a:t> </a:t>
            </a:r>
            <a:r>
              <a:rPr lang="de-DE" sz="1100" dirty="0" err="1"/>
              <a:t>visualising</a:t>
            </a:r>
            <a:r>
              <a:rPr lang="de-DE" sz="1100" dirty="0"/>
              <a:t> </a:t>
            </a:r>
            <a:r>
              <a:rPr lang="de-DE" sz="1100" dirty="0" err="1"/>
              <a:t>software</a:t>
            </a:r>
            <a:r>
              <a:rPr lang="de-DE" sz="1100" dirty="0"/>
              <a:t> </a:t>
            </a:r>
            <a:r>
              <a:rPr lang="de-DE" sz="1100" dirty="0" err="1"/>
              <a:t>architecture</a:t>
            </a:r>
            <a:r>
              <a:rPr lang="de-DE" sz="1100" dirty="0"/>
              <a:t> - </a:t>
            </a:r>
            <a:r>
              <a:rPr lang="de-DE" sz="1100" dirty="0">
                <a:hlinkClick r:id="rId4"/>
              </a:rPr>
              <a:t>https://c4model.com</a:t>
            </a:r>
            <a:endParaRPr lang="de-DE" sz="1100" dirty="0"/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sz="1100" dirty="0" smtClean="0"/>
              <a:t>FMC </a:t>
            </a:r>
            <a:r>
              <a:rPr lang="mr-IN" sz="1100" dirty="0" smtClean="0"/>
              <a:t>–</a:t>
            </a:r>
            <a:r>
              <a:rPr lang="de-DE" sz="1100" dirty="0" smtClean="0"/>
              <a:t> Fundamental </a:t>
            </a:r>
            <a:r>
              <a:rPr lang="de-DE" sz="1100" dirty="0"/>
              <a:t>Modeling </a:t>
            </a:r>
            <a:r>
              <a:rPr lang="de-DE" sz="1100" dirty="0" err="1"/>
              <a:t>Concepts</a:t>
            </a:r>
            <a:r>
              <a:rPr lang="de-DE" sz="1100" dirty="0"/>
              <a:t>- </a:t>
            </a:r>
            <a:r>
              <a:rPr lang="de-DE" sz="1100" dirty="0">
                <a:hlinkClick r:id="rId5"/>
              </a:rPr>
              <a:t>http://</a:t>
            </a:r>
            <a:r>
              <a:rPr lang="de-DE" sz="1100" dirty="0" err="1">
                <a:hlinkClick r:id="rId5"/>
              </a:rPr>
              <a:t>www.fmc-modeling.org</a:t>
            </a:r>
            <a:endParaRPr lang="de-DE" sz="1100" dirty="0" smtClean="0"/>
          </a:p>
          <a:p>
            <a:pPr marL="133350" indent="-133350">
              <a:buClr>
                <a:schemeClr val="tx1"/>
              </a:buClr>
              <a:buFont typeface="Wingdings" charset="2"/>
              <a:buChar char="§"/>
            </a:pPr>
            <a:r>
              <a:rPr lang="de-DE" sz="1100" dirty="0"/>
              <a:t>The </a:t>
            </a:r>
            <a:r>
              <a:rPr lang="de-DE" sz="1100" dirty="0" err="1"/>
              <a:t>ArchiMate</a:t>
            </a:r>
            <a:r>
              <a:rPr lang="de-DE" sz="1100" dirty="0"/>
              <a:t>® Enterprise </a:t>
            </a:r>
            <a:r>
              <a:rPr lang="de-DE" sz="1100" dirty="0" err="1"/>
              <a:t>Architecture</a:t>
            </a:r>
            <a:r>
              <a:rPr lang="de-DE" sz="1100" dirty="0"/>
              <a:t> Modeling </a:t>
            </a:r>
            <a:r>
              <a:rPr lang="de-DE" sz="1100" dirty="0" smtClean="0"/>
              <a:t>Language: </a:t>
            </a:r>
            <a:r>
              <a:rPr lang="de-DE" sz="1100" dirty="0" smtClean="0">
                <a:hlinkClick r:id="rId6"/>
              </a:rPr>
              <a:t>https://www.opengroup.org/archimate-forum/archimate-overview</a:t>
            </a:r>
            <a:endParaRPr lang="de-DE" sz="110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55300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feld 7"/>
          <p:cNvSpPr txBox="1"/>
          <p:nvPr/>
        </p:nvSpPr>
        <p:spPr>
          <a:xfrm>
            <a:off x="982586" y="2277634"/>
            <a:ext cx="1605824" cy="830997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>
              <a:buClr>
                <a:schemeClr val="tx2"/>
              </a:buClr>
            </a:pPr>
            <a:r>
              <a:rPr lang="de-DE" b="1" dirty="0" smtClean="0">
                <a:latin typeface="Helvetica Neue" charset="0"/>
                <a:ea typeface="Helvetica Neue" charset="0"/>
                <a:cs typeface="Helvetica Neue" charset="0"/>
              </a:rPr>
              <a:t>GROON</a:t>
            </a:r>
          </a:p>
          <a:p>
            <a:pPr>
              <a:buClr>
                <a:schemeClr val="tx2"/>
              </a:buClr>
            </a:pPr>
            <a:r>
              <a:rPr lang="de-DE" b="1" dirty="0" smtClean="0">
                <a:latin typeface="Helvetica Neue" charset="0"/>
                <a:ea typeface="Helvetica Neue" charset="0"/>
                <a:cs typeface="Helvetica Neue" charset="0"/>
              </a:rPr>
              <a:t>VANDORP</a:t>
            </a:r>
            <a:endParaRPr lang="de-DE" b="1" dirty="0" smtClean="0">
              <a:latin typeface="Helvetica Neue" charset="0"/>
              <a:ea typeface="Helvetica Neue" charset="0"/>
              <a:cs typeface="Helvetica Neue" charset="0"/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4006916" y="2277634"/>
            <a:ext cx="3100657" cy="2062103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>
              <a:buClr>
                <a:schemeClr val="tx2"/>
              </a:buClr>
            </a:pPr>
            <a:endParaRPr lang="de-DE" sz="1600" dirty="0" smtClean="0">
              <a:latin typeface="Helvetica Neue" charset="0"/>
              <a:ea typeface="Helvetica Neue" charset="0"/>
              <a:cs typeface="Helvetica Neue" charset="0"/>
              <a:hlinkClick r:id="rId2"/>
            </a:endParaRPr>
          </a:p>
          <a:p>
            <a:pPr>
              <a:buClr>
                <a:schemeClr val="tx2"/>
              </a:buClr>
            </a:pPr>
            <a:endParaRPr lang="de-DE" sz="1600" dirty="0">
              <a:latin typeface="Helvetica Neue" charset="0"/>
              <a:ea typeface="Helvetica Neue" charset="0"/>
              <a:cs typeface="Helvetica Neue" charset="0"/>
              <a:hlinkClick r:id="rId2"/>
            </a:endParaRPr>
          </a:p>
          <a:p>
            <a:pPr>
              <a:buClr>
                <a:schemeClr val="tx2"/>
              </a:buClr>
            </a:pPr>
            <a:r>
              <a:rPr lang="de-DE" sz="1600" dirty="0" smtClean="0">
                <a:latin typeface="Helvetica Neue" charset="0"/>
                <a:ea typeface="Helvetica Neue" charset="0"/>
                <a:cs typeface="Helvetica Neue" charset="0"/>
                <a:hlinkClick r:id="rId2"/>
              </a:rPr>
              <a:t>E-Mail: oliver@groon-vandorp.de</a:t>
            </a:r>
            <a:endParaRPr lang="de-DE" sz="1600" dirty="0" smtClean="0">
              <a:latin typeface="Helvetica Neue" charset="0"/>
              <a:ea typeface="Helvetica Neue" charset="0"/>
              <a:cs typeface="Helvetica Neue" charset="0"/>
            </a:endParaRPr>
          </a:p>
          <a:p>
            <a:pPr>
              <a:buClr>
                <a:schemeClr val="tx2"/>
              </a:buClr>
            </a:pPr>
            <a:r>
              <a:rPr lang="de-DE" sz="1600" dirty="0" smtClean="0">
                <a:latin typeface="Helvetica Neue" charset="0"/>
                <a:ea typeface="Helvetica Neue" charset="0"/>
                <a:cs typeface="Helvetica Neue" charset="0"/>
              </a:rPr>
              <a:t>Mobile: +49 171 544 6699</a:t>
            </a:r>
          </a:p>
          <a:p>
            <a:pPr>
              <a:buClr>
                <a:schemeClr val="tx2"/>
              </a:buClr>
            </a:pPr>
            <a:endParaRPr lang="de-DE" sz="1600" dirty="0" smtClean="0">
              <a:latin typeface="Helvetica Neue" charset="0"/>
              <a:ea typeface="Helvetica Neue" charset="0"/>
              <a:cs typeface="Helvetica Neue" charset="0"/>
            </a:endParaRPr>
          </a:p>
          <a:p>
            <a:pPr>
              <a:buClr>
                <a:schemeClr val="tx2"/>
              </a:buClr>
            </a:pPr>
            <a:endParaRPr lang="de-DE" sz="1600" dirty="0" smtClean="0">
              <a:latin typeface="Helvetica Neue" charset="0"/>
              <a:ea typeface="Helvetica Neue" charset="0"/>
              <a:cs typeface="Helvetica Neue" charset="0"/>
            </a:endParaRPr>
          </a:p>
          <a:p>
            <a:pPr>
              <a:buClr>
                <a:schemeClr val="tx2"/>
              </a:buClr>
            </a:pPr>
            <a:r>
              <a:rPr lang="de-DE" sz="1600" dirty="0" smtClean="0">
                <a:latin typeface="Helvetica Neue" charset="0"/>
                <a:ea typeface="Helvetica Neue" charset="0"/>
                <a:cs typeface="Helvetica Neue" charset="0"/>
              </a:rPr>
              <a:t>Am Stadtwald 15</a:t>
            </a:r>
          </a:p>
          <a:p>
            <a:pPr>
              <a:buClr>
                <a:schemeClr val="tx2"/>
              </a:buClr>
            </a:pPr>
            <a:r>
              <a:rPr lang="de-DE" sz="1600" dirty="0" smtClean="0">
                <a:latin typeface="Helvetica Neue" charset="0"/>
                <a:ea typeface="Helvetica Neue" charset="0"/>
                <a:cs typeface="Helvetica Neue" charset="0"/>
              </a:rPr>
              <a:t>D- 53177 Bonn</a:t>
            </a:r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2896" y="5230044"/>
            <a:ext cx="534064" cy="534064"/>
          </a:xfrm>
          <a:prstGeom prst="rect">
            <a:avLst/>
          </a:prstGeom>
        </p:spPr>
      </p:pic>
      <p:sp>
        <p:nvSpPr>
          <p:cNvPr id="13" name="Rechteck 12"/>
          <p:cNvSpPr/>
          <p:nvPr/>
        </p:nvSpPr>
        <p:spPr>
          <a:xfrm>
            <a:off x="4582996" y="5294508"/>
            <a:ext cx="6092825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buClr>
                <a:schemeClr val="tx2"/>
              </a:buClr>
            </a:pPr>
            <a:r>
              <a:rPr lang="de-DE" sz="1200" dirty="0" err="1">
                <a:latin typeface="Helvetica Neue" charset="0"/>
                <a:ea typeface="Helvetica Neue" charset="0"/>
                <a:cs typeface="Helvetica Neue" charset="0"/>
                <a:hlinkClick r:id="rId4"/>
              </a:rPr>
              <a:t>Github</a:t>
            </a:r>
            <a:r>
              <a:rPr lang="de-DE" sz="1200" dirty="0">
                <a:latin typeface="Helvetica Neue" charset="0"/>
                <a:ea typeface="Helvetica Neue" charset="0"/>
                <a:cs typeface="Helvetica Neue" charset="0"/>
                <a:hlinkClick r:id="rId4"/>
              </a:rPr>
              <a:t>: https://</a:t>
            </a:r>
            <a:r>
              <a:rPr lang="de-DE" sz="1200" dirty="0" err="1">
                <a:latin typeface="Helvetica Neue" charset="0"/>
                <a:ea typeface="Helvetica Neue" charset="0"/>
                <a:cs typeface="Helvetica Neue" charset="0"/>
                <a:hlinkClick r:id="rId4"/>
              </a:rPr>
              <a:t>github.com</a:t>
            </a:r>
            <a:r>
              <a:rPr lang="de-DE" sz="1200" dirty="0">
                <a:latin typeface="Helvetica Neue" charset="0"/>
                <a:ea typeface="Helvetica Neue" charset="0"/>
                <a:cs typeface="Helvetica Neue" charset="0"/>
                <a:hlinkClick r:id="rId4"/>
              </a:rPr>
              <a:t>/</a:t>
            </a:r>
            <a:r>
              <a:rPr lang="de-DE" sz="1200" dirty="0" err="1">
                <a:latin typeface="Helvetica Neue" charset="0"/>
                <a:ea typeface="Helvetica Neue" charset="0"/>
                <a:cs typeface="Helvetica Neue" charset="0"/>
                <a:hlinkClick r:id="rId4"/>
              </a:rPr>
              <a:t>groonvandorp</a:t>
            </a:r>
            <a:r>
              <a:rPr lang="de-DE" sz="1200" dirty="0">
                <a:latin typeface="Helvetica Neue" charset="0"/>
                <a:ea typeface="Helvetica Neue" charset="0"/>
                <a:cs typeface="Helvetica Neue" charset="0"/>
                <a:hlinkClick r:id="rId4"/>
              </a:rPr>
              <a:t>/EAM-Professional-</a:t>
            </a:r>
            <a:r>
              <a:rPr lang="de-DE" sz="1200" dirty="0" err="1">
                <a:latin typeface="Helvetica Neue" charset="0"/>
                <a:ea typeface="Helvetica Neue" charset="0"/>
                <a:cs typeface="Helvetica Neue" charset="0"/>
                <a:hlinkClick r:id="rId4"/>
              </a:rPr>
              <a:t>Ressources.git</a:t>
            </a:r>
            <a:endParaRPr lang="de-DE" sz="1200" dirty="0">
              <a:latin typeface="Helvetica Neue" charset="0"/>
              <a:ea typeface="Helvetica Neue" charset="0"/>
              <a:cs typeface="Helvetica Neu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99749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VCT_SHOW_CA" val="False"/>
  <p:tag name="MIO_CHANGETRACKING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17323;14.17323;28.34646;28.32677;42.5;"/>
  <p:tag name="VCT-BULLETVISIBILITY" val="G  ***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03/14/2017 14:30:16"/>
  <p:tag name="VCTMASTER" val="V03_TUV16002_PPT-Master_05122016"/>
  <p:tag name="VCTORDER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-1"/>
  <p:tag name="MIO_FALLBACK_LAYOUT" val="7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21"/>
  <p:tag name="MIO_HDS" val="True"/>
  <p:tag name="MIO_SKIPVERSION" val="01.01.0001 00:00:00"/>
  <p:tag name="MIO_EKGUID" val="05484e5f-f518-4d23-85df-63404db24bc8"/>
  <p:tag name="MIO_UPDATE" val="True"/>
  <p:tag name="MIO_VERSION" val="31.03.2017 10:04:44"/>
  <p:tag name="MIO_DBID" val="7f940ac8-abef-4c67-8229-2251c0bb5af3"/>
  <p:tag name="MIO_LASTDOWNLOADED" val="25.04.2017 14:32:52"/>
  <p:tag name="MIO_OBJECTNAME" val="TÜV Rheinland DE"/>
  <p:tag name="MIO_CDID" val="4e1976f0-00f2-4571-8200-ef53bf5e2598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ÜV Rheinland">
  <a:themeElements>
    <a:clrScheme name="TÜV Rheinland">
      <a:dk1>
        <a:sysClr val="windowText" lastClr="000000"/>
      </a:dk1>
      <a:lt1>
        <a:sysClr val="window" lastClr="FFFFFF"/>
      </a:lt1>
      <a:dk2>
        <a:srgbClr val="0071B9"/>
      </a:dk2>
      <a:lt2>
        <a:srgbClr val="CEE0F2"/>
      </a:lt2>
      <a:accent1>
        <a:srgbClr val="002B46"/>
      </a:accent1>
      <a:accent2>
        <a:srgbClr val="265D7F"/>
      </a:accent2>
      <a:accent3>
        <a:srgbClr val="7AACCB"/>
      </a:accent3>
      <a:accent4>
        <a:srgbClr val="4F5559"/>
      </a:accent4>
      <a:accent5>
        <a:srgbClr val="B1B1B1"/>
      </a:accent5>
      <a:accent6>
        <a:srgbClr val="E5E5E5"/>
      </a:accent6>
      <a:hlink>
        <a:srgbClr val="0071B9"/>
      </a:hlink>
      <a:folHlink>
        <a:srgbClr val="0071B9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rtlCol="0">
        <a:spAutoFit/>
      </a:bodyPr>
      <a:lstStyle>
        <a:defPPr marL="177800" indent="-177800">
          <a:lnSpc>
            <a:spcPts val="2200"/>
          </a:lnSpc>
          <a:buClr>
            <a:schemeClr val="tx2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 name="Green">
      <a:srgbClr val="50B400"/>
    </a:custClr>
    <a:custClr name="Red">
      <a:srgbClr val="D20033"/>
    </a:custClr>
    <a:custClr name="Yellow">
      <a:srgbClr val="FFC600"/>
    </a:custClr>
  </a:custClrLst>
</a:theme>
</file>

<file path=ppt/theme/theme2.xml><?xml version="1.0" encoding="utf-8"?>
<a:theme xmlns:a="http://schemas.openxmlformats.org/drawingml/2006/main" name="Larissa">
  <a:themeElements>
    <a:clrScheme name="TÜV Rheinland">
      <a:dk1>
        <a:sysClr val="windowText" lastClr="000000"/>
      </a:dk1>
      <a:lt1>
        <a:sysClr val="window" lastClr="FFFFFF"/>
      </a:lt1>
      <a:dk2>
        <a:srgbClr val="0071B9"/>
      </a:dk2>
      <a:lt2>
        <a:srgbClr val="CEE0F2"/>
      </a:lt2>
      <a:accent1>
        <a:srgbClr val="002B46"/>
      </a:accent1>
      <a:accent2>
        <a:srgbClr val="265D7F"/>
      </a:accent2>
      <a:accent3>
        <a:srgbClr val="7AACCB"/>
      </a:accent3>
      <a:accent4>
        <a:srgbClr val="4F5559"/>
      </a:accent4>
      <a:accent5>
        <a:srgbClr val="B1B1B1"/>
      </a:accent5>
      <a:accent6>
        <a:srgbClr val="E5E5E5"/>
      </a:accent6>
      <a:hlink>
        <a:srgbClr val="0071B9"/>
      </a:hlink>
      <a:folHlink>
        <a:srgbClr val="0071B9"/>
      </a:folHlink>
    </a:clrScheme>
    <a:fontScheme name="TÜV Rheinlan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TÜV Rheinland">
      <a:dk1>
        <a:sysClr val="windowText" lastClr="000000"/>
      </a:dk1>
      <a:lt1>
        <a:sysClr val="window" lastClr="FFFFFF"/>
      </a:lt1>
      <a:dk2>
        <a:srgbClr val="0071B9"/>
      </a:dk2>
      <a:lt2>
        <a:srgbClr val="CEE0F2"/>
      </a:lt2>
      <a:accent1>
        <a:srgbClr val="002B46"/>
      </a:accent1>
      <a:accent2>
        <a:srgbClr val="265D7F"/>
      </a:accent2>
      <a:accent3>
        <a:srgbClr val="7AACCB"/>
      </a:accent3>
      <a:accent4>
        <a:srgbClr val="4F5559"/>
      </a:accent4>
      <a:accent5>
        <a:srgbClr val="B1B1B1"/>
      </a:accent5>
      <a:accent6>
        <a:srgbClr val="E5E5E5"/>
      </a:accent6>
      <a:hlink>
        <a:srgbClr val="0071B9"/>
      </a:hlink>
      <a:folHlink>
        <a:srgbClr val="0071B9"/>
      </a:folHlink>
    </a:clrScheme>
    <a:fontScheme name="TÜV Rheinlan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29</Words>
  <Application>Microsoft Macintosh PowerPoint</Application>
  <PresentationFormat>Benutzerdefiniert</PresentationFormat>
  <Paragraphs>95</Paragraphs>
  <Slides>8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5" baseType="lpstr">
      <vt:lpstr>Helvetica Neue</vt:lpstr>
      <vt:lpstr>Symbol</vt:lpstr>
      <vt:lpstr>Verdana</vt:lpstr>
      <vt:lpstr>Wingdings</vt:lpstr>
      <vt:lpstr>Arial</vt:lpstr>
      <vt:lpstr>TÜV Rheinland</vt:lpstr>
      <vt:lpstr>think-cell Folie</vt:lpstr>
      <vt:lpstr>IT-Architecture and Technology Professional   Ressources</vt:lpstr>
      <vt:lpstr>Tipps für Architekten</vt:lpstr>
      <vt:lpstr>Links</vt:lpstr>
      <vt:lpstr>Buchtipps</vt:lpstr>
      <vt:lpstr>Podcasts</vt:lpstr>
      <vt:lpstr>Tools</vt:lpstr>
      <vt:lpstr>Notationen und Modellierungssprachen</vt:lpstr>
      <vt:lpstr>PowerPoint-Prä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tor einer modernen Gesellschaft</dc:title>
  <dc:creator>Corinna Lisson</dc:creator>
  <cp:lastModifiedBy>Oliver Gruhn-van Dorp</cp:lastModifiedBy>
  <cp:revision>211</cp:revision>
  <cp:lastPrinted>2016-11-30T12:57:10Z</cp:lastPrinted>
  <dcterms:created xsi:type="dcterms:W3CDTF">2016-12-05T09:44:27Z</dcterms:created>
  <dcterms:modified xsi:type="dcterms:W3CDTF">2019-05-22T18:56:47Z</dcterms:modified>
</cp:coreProperties>
</file>